
<file path=[Content_Types].xml><?xml version="1.0" encoding="utf-8"?>
<Types xmlns="http://schemas.openxmlformats.org/package/2006/content-types">
  <Default Extension="xml" ContentType="application/xml"/>
  <Default Extension="tiff" ContentType="image/tiff"/>
  <Default Extension="emf" ContentType="image/x-emf"/>
  <Default Extension="rels" ContentType="application/vnd.openxmlformats-package.relationships+xml"/>
  <Default Extension="vml" ContentType="application/vnd.openxmlformats-officedocument.vmlDrawing"/>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embeddings/oleObject1.bin" ContentType="application/vnd.openxmlformats-officedocument.oleObject"/>
  <Override PartName="/ppt/tags/tag2.xml" ContentType="application/vnd.openxmlformats-officedocument.presentationml.tags+xml"/>
  <Override PartName="/ppt/embeddings/oleObject2.bin" ContentType="application/vnd.openxmlformats-officedocument.oleObject"/>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2"/>
  </p:notesMasterIdLst>
  <p:sldIdLst>
    <p:sldId id="311" r:id="rId2"/>
    <p:sldId id="312" r:id="rId3"/>
    <p:sldId id="302" r:id="rId4"/>
    <p:sldId id="305" r:id="rId5"/>
    <p:sldId id="297" r:id="rId6"/>
    <p:sldId id="279" r:id="rId7"/>
    <p:sldId id="303" r:id="rId8"/>
    <p:sldId id="307" r:id="rId9"/>
    <p:sldId id="304" r:id="rId10"/>
    <p:sldId id="313" r:id="rId11"/>
  </p:sldIdLst>
  <p:sldSz cx="12192000" cy="6858000"/>
  <p:notesSz cx="6669088" cy="9926638"/>
  <p:defaultTextStyle>
    <a:defPPr>
      <a:defRPr lang="de-DE"/>
    </a:defPPr>
    <a:lvl1pPr marL="0" algn="l" defTabSz="914400">
      <a:defRPr sz="1800">
        <a:solidFill>
          <a:schemeClr val="tx1"/>
        </a:solidFill>
        <a:latin typeface="+mn-lt"/>
        <a:ea typeface="+mn-ea"/>
        <a:cs typeface="+mn-cs"/>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0"/>
    <p:restoredTop sz="79402" autoAdjust="0"/>
  </p:normalViewPr>
  <p:slideViewPr>
    <p:cSldViewPr>
      <p:cViewPr>
        <p:scale>
          <a:sx n="59" d="100"/>
          <a:sy n="59" d="100"/>
        </p:scale>
        <p:origin x="-1592" y="-8"/>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1" Type="http://schemas.openxmlformats.org/officeDocument/2006/relationships/slide" Target="slides/slide10.xml"/><Relationship Id="rId12" Type="http://schemas.openxmlformats.org/officeDocument/2006/relationships/notesMaster" Target="notesMasters/notesMaster1.xml"/><Relationship Id="rId13" Type="http://schemas.openxmlformats.org/officeDocument/2006/relationships/printerSettings" Target="printerSettings/printerSettings1.bin"/><Relationship Id="rId14" Type="http://schemas.openxmlformats.org/officeDocument/2006/relationships/presProps" Target="presProps.xml"/><Relationship Id="rId15" Type="http://schemas.openxmlformats.org/officeDocument/2006/relationships/viewProps" Target="viewProps.xml"/><Relationship Id="rId16" Type="http://schemas.openxmlformats.org/officeDocument/2006/relationships/theme" Target="theme/theme1.xml"/><Relationship Id="rId17" Type="http://schemas.openxmlformats.org/officeDocument/2006/relationships/tableStyles" Target="tableStyles.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9" Type="http://schemas.openxmlformats.org/officeDocument/2006/relationships/slide" Target="slides/slide8.xml"/><Relationship Id="rId10" Type="http://schemas.openxmlformats.org/officeDocument/2006/relationships/slide" Target="slides/slide9.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bwMode="auto">
        <a:xfrm>
          <a:off x="0" y="0"/>
          <a:ext cx="0" cy="0"/>
          <a:chOff x="0" y="0"/>
          <a:chExt cx="0" cy="0"/>
        </a:xfrm>
      </p:grpSpPr>
      <p:sp>
        <p:nvSpPr>
          <p:cNvPr id="4" name="Header Placeholder 1"/>
          <p:cNvSpPr>
            <a:spLocks noGrp="1"/>
          </p:cNvSpPr>
          <p:nvPr>
            <p:ph type="hdr" sz="quarter"/>
          </p:nvPr>
        </p:nvSpPr>
        <p:spPr bwMode="auto">
          <a:xfrm>
            <a:off x="0" y="0"/>
            <a:ext cx="2889938" cy="373542"/>
          </a:xfrm>
          <a:prstGeom prst="rect">
            <a:avLst/>
          </a:prstGeom>
        </p:spPr>
        <p:txBody>
          <a:bodyPr vert="horz" lIns="79653" tIns="39827" rIns="79653" bIns="39827" rtlCol="0"/>
          <a:lstStyle>
            <a:lvl1pPr algn="l">
              <a:defRPr sz="1000"/>
            </a:lvl1pPr>
          </a:lstStyle>
          <a:p>
            <a:pPr>
              <a:defRPr/>
            </a:pPr>
            <a:endParaRPr lang="en-US"/>
          </a:p>
        </p:txBody>
      </p:sp>
      <p:sp>
        <p:nvSpPr>
          <p:cNvPr id="5" name="Date Placeholder 2"/>
          <p:cNvSpPr>
            <a:spLocks noGrp="1"/>
          </p:cNvSpPr>
          <p:nvPr>
            <p:ph type="dt" idx="1"/>
          </p:nvPr>
        </p:nvSpPr>
        <p:spPr bwMode="auto">
          <a:xfrm>
            <a:off x="3777607" y="0"/>
            <a:ext cx="2889938" cy="373542"/>
          </a:xfrm>
          <a:prstGeom prst="rect">
            <a:avLst/>
          </a:prstGeom>
        </p:spPr>
        <p:txBody>
          <a:bodyPr vert="horz" lIns="79653" tIns="39827" rIns="79653" bIns="39827" rtlCol="0"/>
          <a:lstStyle>
            <a:lvl1pPr algn="r">
              <a:defRPr sz="1000"/>
            </a:lvl1pPr>
          </a:lstStyle>
          <a:p>
            <a:pPr>
              <a:defRPr/>
            </a:pPr>
            <a:fld id="{FDAB427F-9908-DC48-8A06-8360DB066BA1}" type="datetimeFigureOut">
              <a:rPr lang="en-US"/>
              <a:t>04.05.22</a:t>
            </a:fld>
            <a:endParaRPr lang="en-US"/>
          </a:p>
        </p:txBody>
      </p:sp>
      <p:sp>
        <p:nvSpPr>
          <p:cNvPr id="6" name="Slide Image Placeholder 3"/>
          <p:cNvSpPr>
            <a:spLocks noGrp="1" noRot="1" noChangeAspect="1"/>
          </p:cNvSpPr>
          <p:nvPr>
            <p:ph type="sldImg" idx="2"/>
          </p:nvPr>
        </p:nvSpPr>
        <p:spPr bwMode="auto">
          <a:xfrm>
            <a:off x="1098550" y="930275"/>
            <a:ext cx="4471988" cy="2514600"/>
          </a:xfrm>
          <a:prstGeom prst="rect">
            <a:avLst/>
          </a:prstGeom>
          <a:noFill/>
          <a:ln w="12700">
            <a:solidFill>
              <a:prstClr val="black"/>
            </a:solidFill>
          </a:ln>
        </p:spPr>
        <p:txBody>
          <a:bodyPr vert="horz" lIns="79653" tIns="39827" rIns="79653" bIns="39827" rtlCol="0" anchor="ctr"/>
          <a:lstStyle/>
          <a:p>
            <a:pPr>
              <a:defRPr/>
            </a:pPr>
            <a:endParaRPr lang="en-US"/>
          </a:p>
        </p:txBody>
      </p:sp>
      <p:sp>
        <p:nvSpPr>
          <p:cNvPr id="7" name="Notes Placeholder 4"/>
          <p:cNvSpPr>
            <a:spLocks noGrp="1"/>
          </p:cNvSpPr>
          <p:nvPr>
            <p:ph type="body" sz="quarter" idx="3"/>
          </p:nvPr>
        </p:nvSpPr>
        <p:spPr bwMode="auto">
          <a:xfrm>
            <a:off x="666909" y="3582896"/>
            <a:ext cx="5335270" cy="2931460"/>
          </a:xfrm>
          <a:prstGeom prst="rect">
            <a:avLst/>
          </a:prstGeom>
        </p:spPr>
        <p:txBody>
          <a:bodyPr vert="horz" lIns="79653" tIns="39827" rIns="79653" bIns="39827" rtlCol="0"/>
          <a:lstStyle/>
          <a:p>
            <a:pPr lvl="0">
              <a:defRPr/>
            </a:pPr>
            <a:r>
              <a:rPr lang="en-GB"/>
              <a:t>Click to edit Master text styles</a:t>
            </a:r>
            <a:endParaRPr/>
          </a:p>
          <a:p>
            <a:pPr lvl="1">
              <a:defRPr/>
            </a:pPr>
            <a:r>
              <a:rPr lang="en-GB"/>
              <a:t>Second level</a:t>
            </a:r>
            <a:endParaRPr/>
          </a:p>
          <a:p>
            <a:pPr lvl="2">
              <a:defRPr/>
            </a:pPr>
            <a:r>
              <a:rPr lang="en-GB"/>
              <a:t>Third level</a:t>
            </a:r>
            <a:endParaRPr/>
          </a:p>
          <a:p>
            <a:pPr lvl="3">
              <a:defRPr/>
            </a:pPr>
            <a:r>
              <a:rPr lang="en-GB"/>
              <a:t>Fourth level</a:t>
            </a:r>
            <a:endParaRPr/>
          </a:p>
          <a:p>
            <a:pPr lvl="4">
              <a:defRPr/>
            </a:pPr>
            <a:r>
              <a:rPr lang="en-GB"/>
              <a:t>Fifth level</a:t>
            </a:r>
            <a:endParaRPr lang="en-US"/>
          </a:p>
        </p:txBody>
      </p:sp>
      <p:sp>
        <p:nvSpPr>
          <p:cNvPr id="8" name="Footer Placeholder 5"/>
          <p:cNvSpPr>
            <a:spLocks noGrp="1"/>
          </p:cNvSpPr>
          <p:nvPr>
            <p:ph type="ftr" sz="quarter" idx="4"/>
          </p:nvPr>
        </p:nvSpPr>
        <p:spPr bwMode="auto">
          <a:xfrm>
            <a:off x="0" y="7071437"/>
            <a:ext cx="2889938" cy="373542"/>
          </a:xfrm>
          <a:prstGeom prst="rect">
            <a:avLst/>
          </a:prstGeom>
        </p:spPr>
        <p:txBody>
          <a:bodyPr vert="horz" lIns="79653" tIns="39827" rIns="79653" bIns="39827" rtlCol="0" anchor="b"/>
          <a:lstStyle>
            <a:lvl1pPr algn="l">
              <a:defRPr sz="1000"/>
            </a:lvl1pPr>
          </a:lstStyle>
          <a:p>
            <a:pPr>
              <a:defRPr/>
            </a:pPr>
            <a:endParaRPr lang="en-US"/>
          </a:p>
        </p:txBody>
      </p:sp>
      <p:sp>
        <p:nvSpPr>
          <p:cNvPr id="9" name="Slide Number Placeholder 6"/>
          <p:cNvSpPr>
            <a:spLocks noGrp="1"/>
          </p:cNvSpPr>
          <p:nvPr>
            <p:ph type="sldNum" sz="quarter" idx="5"/>
          </p:nvPr>
        </p:nvSpPr>
        <p:spPr bwMode="auto">
          <a:xfrm>
            <a:off x="3777607" y="7071437"/>
            <a:ext cx="2889938" cy="373542"/>
          </a:xfrm>
          <a:prstGeom prst="rect">
            <a:avLst/>
          </a:prstGeom>
        </p:spPr>
        <p:txBody>
          <a:bodyPr vert="horz" lIns="79653" tIns="39827" rIns="79653" bIns="39827" rtlCol="0" anchor="b"/>
          <a:lstStyle>
            <a:lvl1pPr algn="r">
              <a:defRPr sz="1000"/>
            </a:lvl1pPr>
          </a:lstStyle>
          <a:p>
            <a:pPr>
              <a:defRPr/>
            </a:pPr>
            <a:fld id="{43447929-7C35-6F41-BCD2-E4611CA45564}" type="slidenum">
              <a:rPr lang="en-US"/>
              <a:t>‹Nr.›</a:t>
            </a:fld>
            <a:endParaRPr lang="en-US"/>
          </a:p>
        </p:txBody>
      </p:sp>
    </p:spTree>
    <p:extLst>
      <p:ext uri="{BB962C8B-B14F-4D97-AF65-F5344CB8AC3E}">
        <p14:creationId xmlns:p14="http://schemas.microsoft.com/office/powerpoint/2010/main" val="1205464103"/>
      </p:ext>
    </p:extLst>
  </p:cSld>
  <p:clrMap bg1="lt1" tx1="dk1" bg2="lt2" tx2="dk2" accent1="accent1" accent2="accent2" accent3="accent3" accent4="accent4" accent5="accent5" accent6="accent6" hlink="hlink" folHlink="folHlink"/>
  <p:notesStyle>
    <a:lvl1pPr marL="0" algn="l" defTabSz="914400">
      <a:defRPr sz="1200">
        <a:solidFill>
          <a:schemeClr val="tx1"/>
        </a:solidFill>
        <a:latin typeface="+mn-lt"/>
        <a:ea typeface="+mn-ea"/>
        <a:cs typeface="+mn-cs"/>
      </a:defRPr>
    </a:lvl1pPr>
    <a:lvl2pPr marL="457200" algn="l" defTabSz="914400">
      <a:defRPr sz="1200">
        <a:solidFill>
          <a:schemeClr val="tx1"/>
        </a:solidFill>
        <a:latin typeface="+mn-lt"/>
        <a:ea typeface="+mn-ea"/>
        <a:cs typeface="+mn-cs"/>
      </a:defRPr>
    </a:lvl2pPr>
    <a:lvl3pPr marL="914400" algn="l" defTabSz="914400">
      <a:defRPr sz="1200">
        <a:solidFill>
          <a:schemeClr val="tx1"/>
        </a:solidFill>
        <a:latin typeface="+mn-lt"/>
        <a:ea typeface="+mn-ea"/>
        <a:cs typeface="+mn-cs"/>
      </a:defRPr>
    </a:lvl3pPr>
    <a:lvl4pPr marL="1371600" algn="l" defTabSz="914400">
      <a:defRPr sz="1200">
        <a:solidFill>
          <a:schemeClr val="tx1"/>
        </a:solidFill>
        <a:latin typeface="+mn-lt"/>
        <a:ea typeface="+mn-ea"/>
        <a:cs typeface="+mn-cs"/>
      </a:defRPr>
    </a:lvl4pPr>
    <a:lvl5pPr marL="1828800" algn="l" defTabSz="914400">
      <a:defRPr sz="1200">
        <a:solidFill>
          <a:schemeClr val="tx1"/>
        </a:solidFill>
        <a:latin typeface="+mn-lt"/>
        <a:ea typeface="+mn-ea"/>
        <a:cs typeface="+mn-cs"/>
      </a:defRPr>
    </a:lvl5pPr>
    <a:lvl6pPr marL="2286000" algn="l" defTabSz="914400">
      <a:defRPr sz="1200">
        <a:solidFill>
          <a:schemeClr val="tx1"/>
        </a:solidFill>
        <a:latin typeface="+mn-lt"/>
        <a:ea typeface="+mn-ea"/>
        <a:cs typeface="+mn-cs"/>
      </a:defRPr>
    </a:lvl6pPr>
    <a:lvl7pPr marL="2743200" algn="l" defTabSz="914400">
      <a:defRPr sz="1200">
        <a:solidFill>
          <a:schemeClr val="tx1"/>
        </a:solidFill>
        <a:latin typeface="+mn-lt"/>
        <a:ea typeface="+mn-ea"/>
        <a:cs typeface="+mn-cs"/>
      </a:defRPr>
    </a:lvl7pPr>
    <a:lvl8pPr marL="3200400" algn="l" defTabSz="914400">
      <a:defRPr sz="1200">
        <a:solidFill>
          <a:schemeClr val="tx1"/>
        </a:solidFill>
        <a:latin typeface="+mn-lt"/>
        <a:ea typeface="+mn-ea"/>
        <a:cs typeface="+mn-cs"/>
      </a:defRPr>
    </a:lvl8pPr>
    <a:lvl9pPr marL="3657600" algn="l" defTabSz="914400">
      <a:defRPr sz="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4" name="Slide Image Placeholder 1"/>
          <p:cNvSpPr>
            <a:spLocks noGrp="1" noRot="1" noChangeAspect="1"/>
          </p:cNvSpPr>
          <p:nvPr>
            <p:ph type="sldImg"/>
          </p:nvPr>
        </p:nvSpPr>
        <p:spPr bwMode="auto"/>
      </p:sp>
      <p:sp>
        <p:nvSpPr>
          <p:cNvPr id="5" name="Notes Placeholder 2"/>
          <p:cNvSpPr>
            <a:spLocks noGrp="1"/>
          </p:cNvSpPr>
          <p:nvPr>
            <p:ph type="body" idx="1"/>
          </p:nvPr>
        </p:nvSpPr>
        <p:spPr bwMode="auto"/>
        <p:txBody>
          <a:bodyPr/>
          <a:lstStyle/>
          <a:p>
            <a:pPr>
              <a:defRPr/>
            </a:pPr>
            <a:endParaRPr lang="en-US" dirty="0"/>
          </a:p>
        </p:txBody>
      </p:sp>
      <p:sp>
        <p:nvSpPr>
          <p:cNvPr id="6" name="Slide Number Placeholder 3"/>
          <p:cNvSpPr>
            <a:spLocks noGrp="1"/>
          </p:cNvSpPr>
          <p:nvPr>
            <p:ph type="sldNum" sz="quarter" idx="5"/>
          </p:nvPr>
        </p:nvSpPr>
        <p:spPr bwMode="auto"/>
        <p:txBody>
          <a:bodyPr/>
          <a:lstStyle/>
          <a:p>
            <a:pPr>
              <a:defRPr/>
            </a:pPr>
            <a:fld id="{43447929-7C35-6F41-BCD2-E4611CA45564}" type="slidenum">
              <a:rPr lang="en-US"/>
              <a:t>1</a:t>
            </a:fld>
            <a:endParaRPr lang="en-US"/>
          </a:p>
        </p:txBody>
      </p:sp>
    </p:spTree>
    <p:extLst>
      <p:ext uri="{BB962C8B-B14F-4D97-AF65-F5344CB8AC3E}">
        <p14:creationId xmlns:p14="http://schemas.microsoft.com/office/powerpoint/2010/main" val="16835917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098BD289-3A29-45E8-AD20-ACE8C932FF07}" type="slidenum">
              <a:rPr lang="de-DE" smtClean="0"/>
              <a:t>5</a:t>
            </a:fld>
            <a:endParaRPr lang="de-DE"/>
          </a:p>
        </p:txBody>
      </p:sp>
    </p:spTree>
    <p:extLst>
      <p:ext uri="{BB962C8B-B14F-4D97-AF65-F5344CB8AC3E}">
        <p14:creationId xmlns:p14="http://schemas.microsoft.com/office/powerpoint/2010/main" val="41238399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lvl="1" defTabSz="831900">
              <a:defRPr/>
            </a:pPr>
            <a:r>
              <a:rPr lang="de-DE" sz="1000" dirty="0"/>
              <a:t>Hitzewellen und andere Extremwetterereignisse haben in den letzten Jahren in Deutschland stark zugenommen. Sie stellen schon jetzt die größte Gesundheitsgefährdung durch den Klimawandel dar und werden in den nächsten Jahren weiter zunehmen. Obwohl das Verständnis für die Gefährdungen stetig gestiegen ist, ist es bisher nicht gelungen Gesundheitsakteure an der Entwicklung und Umsetzung von Hitzeschutzplänen im eigenen Verantwortungsbereich und gemeinsam in Kommunen und Bundesländern zu beteiligen. Das widerspricht der gültigen rechtlichen und ethischen Verantwortung für das Wohlbefinden von </a:t>
            </a:r>
            <a:r>
              <a:rPr lang="de-DE" sz="1000" dirty="0" err="1"/>
              <a:t>Patient:innen</a:t>
            </a:r>
            <a:r>
              <a:rPr lang="de-DE" sz="1000" dirty="0"/>
              <a:t>. </a:t>
            </a:r>
          </a:p>
          <a:p>
            <a:pPr marL="0" lvl="1" defTabSz="831900">
              <a:defRPr/>
            </a:pPr>
            <a:endParaRPr lang="en-GB" sz="1000" dirty="0"/>
          </a:p>
          <a:p>
            <a:pPr marL="0" lvl="1" defTabSz="831900">
              <a:defRPr/>
            </a:pPr>
            <a:r>
              <a:rPr lang="de-DE" sz="1000" dirty="0"/>
              <a:t>In Anbetracht der zunehmenden Gesundheitsrisiken durch Hitze und Hitzewellen, betont das </a:t>
            </a:r>
            <a:r>
              <a:rPr lang="de-DE" sz="1000" dirty="0" err="1"/>
              <a:t>policy</a:t>
            </a:r>
            <a:r>
              <a:rPr lang="de-DE" sz="1000" dirty="0"/>
              <a:t> </a:t>
            </a:r>
            <a:r>
              <a:rPr lang="de-DE" sz="1000" dirty="0" err="1"/>
              <a:t>brief</a:t>
            </a:r>
            <a:r>
              <a:rPr lang="de-DE" sz="1000" dirty="0"/>
              <a:t> für Deutschland, wie wichtig es ist, Hitzeaktionspläne zum Schutz der menschlichen Gesundheit auf  Landes- und kommunaler Ebene umfassend umzusetzen. Bisher wurden auf diesen Ebenen, mit Ausnahme von einigen Beispielen, Hitzeschutzaktionspläne nicht systematisch umgesetzt (Hessen und Nordrhein-Westfalen). Es sind außerdem nicht viele Beispiele von umfassendem Training und spezifischer Vorbereitung für Ärzte und Ärztinnen oder Angehörige von Pflegeberufen bekannt.</a:t>
            </a:r>
          </a:p>
        </p:txBody>
      </p:sp>
      <p:sp>
        <p:nvSpPr>
          <p:cNvPr id="4" name="Foliennummernplatzhalter 3"/>
          <p:cNvSpPr>
            <a:spLocks noGrp="1"/>
          </p:cNvSpPr>
          <p:nvPr>
            <p:ph type="sldNum" sz="quarter" idx="10"/>
          </p:nvPr>
        </p:nvSpPr>
        <p:spPr/>
        <p:txBody>
          <a:bodyPr/>
          <a:lstStyle/>
          <a:p>
            <a:fld id="{CF23A716-6859-E743-A071-439568EA93C3}" type="slidenum">
              <a:rPr lang="en-GB" smtClean="0"/>
              <a:t>6</a:t>
            </a:fld>
            <a:endParaRPr lang="en-GB"/>
          </a:p>
        </p:txBody>
      </p:sp>
    </p:spTree>
    <p:extLst>
      <p:ext uri="{BB962C8B-B14F-4D97-AF65-F5344CB8AC3E}">
        <p14:creationId xmlns:p14="http://schemas.microsoft.com/office/powerpoint/2010/main" val="38038513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kern="1200" dirty="0"/>
          </a:p>
        </p:txBody>
      </p:sp>
      <p:sp>
        <p:nvSpPr>
          <p:cNvPr id="4" name="Slide Number Placeholder 3"/>
          <p:cNvSpPr>
            <a:spLocks noGrp="1"/>
          </p:cNvSpPr>
          <p:nvPr>
            <p:ph type="sldNum" sz="quarter" idx="10"/>
          </p:nvPr>
        </p:nvSpPr>
        <p:spPr/>
        <p:txBody>
          <a:bodyPr/>
          <a:lstStyle/>
          <a:p>
            <a:fld id="{098BD289-3A29-45E8-AD20-ACE8C932FF07}" type="slidenum">
              <a:rPr lang="de-DE" smtClean="0"/>
              <a:t>7</a:t>
            </a:fld>
            <a:endParaRPr lang="de-DE"/>
          </a:p>
        </p:txBody>
      </p:sp>
    </p:spTree>
    <p:extLst>
      <p:ext uri="{BB962C8B-B14F-4D97-AF65-F5344CB8AC3E}">
        <p14:creationId xmlns:p14="http://schemas.microsoft.com/office/powerpoint/2010/main" val="37084515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kern="1200" dirty="0"/>
          </a:p>
        </p:txBody>
      </p:sp>
      <p:sp>
        <p:nvSpPr>
          <p:cNvPr id="4" name="Slide Number Placeholder 3"/>
          <p:cNvSpPr>
            <a:spLocks noGrp="1"/>
          </p:cNvSpPr>
          <p:nvPr>
            <p:ph type="sldNum" sz="quarter" idx="10"/>
          </p:nvPr>
        </p:nvSpPr>
        <p:spPr/>
        <p:txBody>
          <a:bodyPr/>
          <a:lstStyle/>
          <a:p>
            <a:fld id="{098BD289-3A29-45E8-AD20-ACE8C932FF07}" type="slidenum">
              <a:rPr lang="de-DE" smtClean="0"/>
              <a:t>8</a:t>
            </a:fld>
            <a:endParaRPr lang="de-DE"/>
          </a:p>
        </p:txBody>
      </p:sp>
    </p:spTree>
    <p:extLst>
      <p:ext uri="{BB962C8B-B14F-4D97-AF65-F5344CB8AC3E}">
        <p14:creationId xmlns:p14="http://schemas.microsoft.com/office/powerpoint/2010/main" val="37084515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kern="1200" dirty="0"/>
          </a:p>
        </p:txBody>
      </p:sp>
      <p:sp>
        <p:nvSpPr>
          <p:cNvPr id="4" name="Slide Number Placeholder 3"/>
          <p:cNvSpPr>
            <a:spLocks noGrp="1"/>
          </p:cNvSpPr>
          <p:nvPr>
            <p:ph type="sldNum" sz="quarter" idx="10"/>
          </p:nvPr>
        </p:nvSpPr>
        <p:spPr/>
        <p:txBody>
          <a:bodyPr/>
          <a:lstStyle/>
          <a:p>
            <a:fld id="{098BD289-3A29-45E8-AD20-ACE8C932FF07}" type="slidenum">
              <a:rPr lang="de-DE" smtClean="0"/>
              <a:t>9</a:t>
            </a:fld>
            <a:endParaRPr lang="de-DE"/>
          </a:p>
        </p:txBody>
      </p:sp>
    </p:spTree>
    <p:extLst>
      <p:ext uri="{BB962C8B-B14F-4D97-AF65-F5344CB8AC3E}">
        <p14:creationId xmlns:p14="http://schemas.microsoft.com/office/powerpoint/2010/main" val="3708451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kern="1200" dirty="0"/>
          </a:p>
        </p:txBody>
      </p:sp>
      <p:sp>
        <p:nvSpPr>
          <p:cNvPr id="4" name="Slide Number Placeholder 3"/>
          <p:cNvSpPr>
            <a:spLocks noGrp="1"/>
          </p:cNvSpPr>
          <p:nvPr>
            <p:ph type="sldNum" sz="quarter" idx="10"/>
          </p:nvPr>
        </p:nvSpPr>
        <p:spPr/>
        <p:txBody>
          <a:bodyPr/>
          <a:lstStyle/>
          <a:p>
            <a:fld id="{098BD289-3A29-45E8-AD20-ACE8C932FF07}" type="slidenum">
              <a:rPr lang="de-DE" smtClean="0"/>
              <a:t>10</a:t>
            </a:fld>
            <a:endParaRPr lang="de-DE"/>
          </a:p>
        </p:txBody>
      </p:sp>
    </p:spTree>
    <p:extLst>
      <p:ext uri="{BB962C8B-B14F-4D97-AF65-F5344CB8AC3E}">
        <p14:creationId xmlns:p14="http://schemas.microsoft.com/office/powerpoint/2010/main" val="37084515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1.bin"/><Relationship Id="rId5" Type="http://schemas.openxmlformats.org/officeDocument/2006/relationships/image" Target="../media/image1.emf"/><Relationship Id="rId1" Type="http://schemas.openxmlformats.org/officeDocument/2006/relationships/vmlDrawing" Target="../drawings/vmlDrawing1.vml"/><Relationship Id="rId2" Type="http://schemas.openxmlformats.org/officeDocument/2006/relationships/tags" Target="../tags/tag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2.bin"/><Relationship Id="rId5" Type="http://schemas.openxmlformats.org/officeDocument/2006/relationships/image" Target="../media/image1.emf"/><Relationship Id="rId1" Type="http://schemas.openxmlformats.org/officeDocument/2006/relationships/vmlDrawing" Target="../drawings/vmlDrawing2.vml"/><Relationship Id="rId2" Type="http://schemas.openxmlformats.org/officeDocument/2006/relationships/tags" Target="../tags/tag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PhAnim="0" type="title" preserve="1" userDrawn="1">
  <p:cSld name="Title Slide">
    <p:spTree>
      <p:nvGrpSpPr>
        <p:cNvPr id="1" name=""/>
        <p:cNvGrpSpPr/>
        <p:nvPr/>
      </p:nvGrpSpPr>
      <p:grpSpPr bwMode="auto">
        <a:xfrm>
          <a:off x="0" y="0"/>
          <a:ext cx="0" cy="0"/>
          <a:chOff x="0" y="0"/>
          <a:chExt cx="0" cy="0"/>
        </a:xfrm>
      </p:grpSpPr>
      <p:sp>
        <p:nvSpPr>
          <p:cNvPr id="4" name="Rectangle 6" descr="Tag=AccentColor&#10;Flavor=Light&#10;Target=FillAndLine"/>
          <p:cNvSpPr/>
          <p:nvPr/>
        </p:nvSpPr>
        <p:spPr bwMode="auto">
          <a:xfrm>
            <a:off x="838200" y="4736883"/>
            <a:ext cx="4243589" cy="27432"/>
          </a:xfrm>
          <a:custGeom>
            <a:avLst/>
            <a:gdLst>
              <a:gd name="connsiteX0" fmla="*/ 0 w 4243589"/>
              <a:gd name="connsiteY0" fmla="*/ 0 h 27432"/>
              <a:gd name="connsiteX1" fmla="*/ 563791 w 4243589"/>
              <a:gd name="connsiteY1" fmla="*/ 0 h 27432"/>
              <a:gd name="connsiteX2" fmla="*/ 1042710 w 4243589"/>
              <a:gd name="connsiteY2" fmla="*/ 0 h 27432"/>
              <a:gd name="connsiteX3" fmla="*/ 1564066 w 4243589"/>
              <a:gd name="connsiteY3" fmla="*/ 0 h 27432"/>
              <a:gd name="connsiteX4" fmla="*/ 2212729 w 4243589"/>
              <a:gd name="connsiteY4" fmla="*/ 0 h 27432"/>
              <a:gd name="connsiteX5" fmla="*/ 2776520 w 4243589"/>
              <a:gd name="connsiteY5" fmla="*/ 0 h 27432"/>
              <a:gd name="connsiteX6" fmla="*/ 3297875 w 4243589"/>
              <a:gd name="connsiteY6" fmla="*/ 0 h 27432"/>
              <a:gd name="connsiteX7" fmla="*/ 4243589 w 4243589"/>
              <a:gd name="connsiteY7" fmla="*/ 0 h 27432"/>
              <a:gd name="connsiteX8" fmla="*/ 4243589 w 4243589"/>
              <a:gd name="connsiteY8" fmla="*/ 27432 h 27432"/>
              <a:gd name="connsiteX9" fmla="*/ 3637362 w 4243589"/>
              <a:gd name="connsiteY9" fmla="*/ 27432 h 27432"/>
              <a:gd name="connsiteX10" fmla="*/ 3116007 w 4243589"/>
              <a:gd name="connsiteY10" fmla="*/ 27432 h 27432"/>
              <a:gd name="connsiteX11" fmla="*/ 2424908 w 4243589"/>
              <a:gd name="connsiteY11" fmla="*/ 27432 h 27432"/>
              <a:gd name="connsiteX12" fmla="*/ 1861117 w 4243589"/>
              <a:gd name="connsiteY12" fmla="*/ 27432 h 27432"/>
              <a:gd name="connsiteX13" fmla="*/ 1382198 w 4243589"/>
              <a:gd name="connsiteY13" fmla="*/ 27432 h 27432"/>
              <a:gd name="connsiteX14" fmla="*/ 733535 w 4243589"/>
              <a:gd name="connsiteY14" fmla="*/ 27432 h 27432"/>
              <a:gd name="connsiteX15" fmla="*/ 0 w 4243589"/>
              <a:gd name="connsiteY15" fmla="*/ 27432 h 27432"/>
              <a:gd name="connsiteX16" fmla="*/ 0 w 4243589"/>
              <a:gd name="connsiteY16"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43589" h="27432" fill="none" extrusionOk="0">
                <a:moveTo>
                  <a:pt x="0" y="0"/>
                </a:moveTo>
                <a:cubicBezTo>
                  <a:pt x="157351" y="-15653"/>
                  <a:pt x="378877" y="-5828"/>
                  <a:pt x="563791" y="0"/>
                </a:cubicBezTo>
                <a:cubicBezTo>
                  <a:pt x="748705" y="5828"/>
                  <a:pt x="905659" y="-5525"/>
                  <a:pt x="1042710" y="0"/>
                </a:cubicBezTo>
                <a:cubicBezTo>
                  <a:pt x="1179761" y="5525"/>
                  <a:pt x="1356845" y="-21288"/>
                  <a:pt x="1564066" y="0"/>
                </a:cubicBezTo>
                <a:cubicBezTo>
                  <a:pt x="1771287" y="21288"/>
                  <a:pt x="1912099" y="25135"/>
                  <a:pt x="2212729" y="0"/>
                </a:cubicBezTo>
                <a:cubicBezTo>
                  <a:pt x="2513359" y="-25135"/>
                  <a:pt x="2514918" y="-27119"/>
                  <a:pt x="2776520" y="0"/>
                </a:cubicBezTo>
                <a:cubicBezTo>
                  <a:pt x="3038122" y="27119"/>
                  <a:pt x="3178771" y="18116"/>
                  <a:pt x="3297875" y="0"/>
                </a:cubicBezTo>
                <a:cubicBezTo>
                  <a:pt x="3416980" y="-18116"/>
                  <a:pt x="4012240" y="-40869"/>
                  <a:pt x="4243589" y="0"/>
                </a:cubicBezTo>
                <a:cubicBezTo>
                  <a:pt x="4242616" y="8304"/>
                  <a:pt x="4243111" y="21512"/>
                  <a:pt x="4243589" y="27432"/>
                </a:cubicBezTo>
                <a:cubicBezTo>
                  <a:pt x="4112949" y="6289"/>
                  <a:pt x="3928037" y="10975"/>
                  <a:pt x="3637362" y="27432"/>
                </a:cubicBezTo>
                <a:cubicBezTo>
                  <a:pt x="3346687" y="43889"/>
                  <a:pt x="3254446" y="35813"/>
                  <a:pt x="3116007" y="27432"/>
                </a:cubicBezTo>
                <a:cubicBezTo>
                  <a:pt x="2977569" y="19051"/>
                  <a:pt x="2620228" y="38017"/>
                  <a:pt x="2424908" y="27432"/>
                </a:cubicBezTo>
                <a:cubicBezTo>
                  <a:pt x="2229588" y="16847"/>
                  <a:pt x="2088287" y="5290"/>
                  <a:pt x="1861117" y="27432"/>
                </a:cubicBezTo>
                <a:cubicBezTo>
                  <a:pt x="1633947" y="49574"/>
                  <a:pt x="1502447" y="8273"/>
                  <a:pt x="1382198" y="27432"/>
                </a:cubicBezTo>
                <a:cubicBezTo>
                  <a:pt x="1261949" y="46591"/>
                  <a:pt x="1045440" y="37497"/>
                  <a:pt x="733535" y="27432"/>
                </a:cubicBezTo>
                <a:cubicBezTo>
                  <a:pt x="421630" y="17367"/>
                  <a:pt x="341257" y="-9215"/>
                  <a:pt x="0" y="27432"/>
                </a:cubicBezTo>
                <a:cubicBezTo>
                  <a:pt x="-1048" y="14992"/>
                  <a:pt x="-1120" y="7447"/>
                  <a:pt x="0" y="0"/>
                </a:cubicBezTo>
                <a:close/>
              </a:path>
              <a:path w="4243589" h="27432" stroke="0" extrusionOk="0">
                <a:moveTo>
                  <a:pt x="0" y="0"/>
                </a:moveTo>
                <a:cubicBezTo>
                  <a:pt x="128164" y="17204"/>
                  <a:pt x="312653" y="1129"/>
                  <a:pt x="563791" y="0"/>
                </a:cubicBezTo>
                <a:cubicBezTo>
                  <a:pt x="814929" y="-1129"/>
                  <a:pt x="837271" y="8503"/>
                  <a:pt x="1042710" y="0"/>
                </a:cubicBezTo>
                <a:cubicBezTo>
                  <a:pt x="1248149" y="-8503"/>
                  <a:pt x="1588432" y="-28862"/>
                  <a:pt x="1733809" y="0"/>
                </a:cubicBezTo>
                <a:cubicBezTo>
                  <a:pt x="1879186" y="28862"/>
                  <a:pt x="2052815" y="5974"/>
                  <a:pt x="2297600" y="0"/>
                </a:cubicBezTo>
                <a:cubicBezTo>
                  <a:pt x="2542385" y="-5974"/>
                  <a:pt x="2699960" y="-23550"/>
                  <a:pt x="2861391" y="0"/>
                </a:cubicBezTo>
                <a:cubicBezTo>
                  <a:pt x="3022822" y="23550"/>
                  <a:pt x="3390411" y="25272"/>
                  <a:pt x="3552490" y="0"/>
                </a:cubicBezTo>
                <a:cubicBezTo>
                  <a:pt x="3714569" y="-25272"/>
                  <a:pt x="3950585" y="-31327"/>
                  <a:pt x="4243589" y="0"/>
                </a:cubicBezTo>
                <a:cubicBezTo>
                  <a:pt x="4244074" y="9333"/>
                  <a:pt x="4244867" y="19699"/>
                  <a:pt x="4243589" y="27432"/>
                </a:cubicBezTo>
                <a:cubicBezTo>
                  <a:pt x="4130424" y="7904"/>
                  <a:pt x="3932803" y="51393"/>
                  <a:pt x="3722234" y="27432"/>
                </a:cubicBezTo>
                <a:cubicBezTo>
                  <a:pt x="3511665" y="3471"/>
                  <a:pt x="3269903" y="55138"/>
                  <a:pt x="3116007" y="27432"/>
                </a:cubicBezTo>
                <a:cubicBezTo>
                  <a:pt x="2962111" y="-274"/>
                  <a:pt x="2744280" y="32368"/>
                  <a:pt x="2509780" y="27432"/>
                </a:cubicBezTo>
                <a:cubicBezTo>
                  <a:pt x="2275280" y="22496"/>
                  <a:pt x="2066059" y="52808"/>
                  <a:pt x="1945989" y="27432"/>
                </a:cubicBezTo>
                <a:cubicBezTo>
                  <a:pt x="1825919" y="2056"/>
                  <a:pt x="1407329" y="21760"/>
                  <a:pt x="1254890" y="27432"/>
                </a:cubicBezTo>
                <a:cubicBezTo>
                  <a:pt x="1102451" y="33104"/>
                  <a:pt x="837950" y="40817"/>
                  <a:pt x="563791" y="27432"/>
                </a:cubicBezTo>
                <a:cubicBezTo>
                  <a:pt x="289632" y="14047"/>
                  <a:pt x="132768" y="16249"/>
                  <a:pt x="0" y="27432"/>
                </a:cubicBezTo>
                <a:cubicBezTo>
                  <a:pt x="211" y="18145"/>
                  <a:pt x="120" y="6480"/>
                  <a:pt x="0" y="0"/>
                </a:cubicBezTo>
                <a:close/>
              </a:path>
            </a:pathLst>
          </a:custGeom>
          <a:solidFill>
            <a:schemeClr val="tx1"/>
          </a:solidFill>
          <a:ln w="38100"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chemeClr val="tx1"/>
              </a:solidFill>
            </a:endParaRPr>
          </a:p>
        </p:txBody>
      </p:sp>
      <p:sp>
        <p:nvSpPr>
          <p:cNvPr id="5" name="Title 1"/>
          <p:cNvSpPr>
            <a:spLocks noGrp="1"/>
          </p:cNvSpPr>
          <p:nvPr>
            <p:ph type="ctrTitle"/>
          </p:nvPr>
        </p:nvSpPr>
        <p:spPr bwMode="auto">
          <a:xfrm>
            <a:off x="841248" y="448056"/>
            <a:ext cx="10515600" cy="4069080"/>
          </a:xfrm>
        </p:spPr>
        <p:txBody>
          <a:bodyPr anchor="b">
            <a:noAutofit/>
          </a:bodyPr>
          <a:lstStyle>
            <a:lvl1pPr algn="l">
              <a:defRPr sz="9600"/>
            </a:lvl1pPr>
          </a:lstStyle>
          <a:p>
            <a:pPr>
              <a:defRPr/>
            </a:pPr>
            <a:r>
              <a:rPr lang="en-US"/>
              <a:t>Click to edit Master title style</a:t>
            </a:r>
          </a:p>
        </p:txBody>
      </p:sp>
      <p:sp>
        <p:nvSpPr>
          <p:cNvPr id="6" name="Subtitle 2"/>
          <p:cNvSpPr>
            <a:spLocks noGrp="1"/>
          </p:cNvSpPr>
          <p:nvPr>
            <p:ph type="subTitle" idx="1"/>
          </p:nvPr>
        </p:nvSpPr>
        <p:spPr bwMode="auto">
          <a:xfrm>
            <a:off x="841248" y="4983480"/>
            <a:ext cx="10515600" cy="1124712"/>
          </a:xfrm>
        </p:spPr>
        <p:txBody>
          <a:bodyPr>
            <a:normAutofit/>
          </a:bodyPr>
          <a:lstStyle>
            <a:lvl1pPr marL="0" indent="0" algn="l">
              <a:buNone/>
              <a:defRPr sz="2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defRPr/>
            </a:pPr>
            <a:r>
              <a:rPr lang="en-US"/>
              <a:t>Click to edit Master subtitle style</a:t>
            </a:r>
            <a:endParaRPr/>
          </a:p>
        </p:txBody>
      </p:sp>
      <p:sp>
        <p:nvSpPr>
          <p:cNvPr id="7" name="Date Placeholder 3"/>
          <p:cNvSpPr>
            <a:spLocks noGrp="1"/>
          </p:cNvSpPr>
          <p:nvPr>
            <p:ph type="dt" sz="half" idx="10"/>
          </p:nvPr>
        </p:nvSpPr>
        <p:spPr bwMode="auto"/>
        <p:txBody>
          <a:bodyPr/>
          <a:lstStyle/>
          <a:p>
            <a:pPr>
              <a:defRPr/>
            </a:pPr>
            <a:fld id="{72345051-2045-45DA-935E-2E3CA1A69ADC}" type="datetimeFigureOut">
              <a:rPr lang="en-US"/>
              <a:t>04.05.22</a:t>
            </a:fld>
            <a:endParaRPr lang="en-US"/>
          </a:p>
        </p:txBody>
      </p:sp>
      <p:sp>
        <p:nvSpPr>
          <p:cNvPr id="8" name="Footer Placeholder 4"/>
          <p:cNvSpPr>
            <a:spLocks noGrp="1"/>
          </p:cNvSpPr>
          <p:nvPr>
            <p:ph type="ftr" sz="quarter" idx="11"/>
          </p:nvPr>
        </p:nvSpPr>
        <p:spPr bwMode="auto"/>
        <p:txBody>
          <a:bodyPr/>
          <a:lstStyle/>
          <a:p>
            <a:pPr>
              <a:defRPr/>
            </a:pPr>
            <a:endParaRPr lang="en-US"/>
          </a:p>
        </p:txBody>
      </p:sp>
      <p:sp>
        <p:nvSpPr>
          <p:cNvPr id="9" name="Slide Number Placeholder 5"/>
          <p:cNvSpPr>
            <a:spLocks noGrp="1"/>
          </p:cNvSpPr>
          <p:nvPr>
            <p:ph type="sldNum" sz="quarter" idx="12"/>
          </p:nvPr>
        </p:nvSpPr>
        <p:spPr bwMode="auto"/>
        <p:txBody>
          <a:bodyPr/>
          <a:lstStyle/>
          <a:p>
            <a:pPr>
              <a:defRPr/>
            </a:pPr>
            <a:fld id="{A7CD31F4-64FA-4BA0-9498-67783267A8C8}" type="slidenum">
              <a:rPr lang="en-US"/>
              <a:t>‹Nr.›</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PhAnim="0" type="vertTx" preserve="1" userDrawn="1">
  <p:cSld name="Title and Vertical Text">
    <p:spTree>
      <p:nvGrpSpPr>
        <p:cNvPr id="1" name=""/>
        <p:cNvGrpSpPr/>
        <p:nvPr/>
      </p:nvGrpSpPr>
      <p:grpSpPr bwMode="auto">
        <a:xfrm>
          <a:off x="0" y="0"/>
          <a:ext cx="0" cy="0"/>
          <a:chOff x="0" y="0"/>
          <a:chExt cx="0" cy="0"/>
        </a:xfrm>
      </p:grpSpPr>
      <p:sp>
        <p:nvSpPr>
          <p:cNvPr id="4" name="Title 1"/>
          <p:cNvSpPr>
            <a:spLocks noGrp="1"/>
          </p:cNvSpPr>
          <p:nvPr>
            <p:ph type="title"/>
          </p:nvPr>
        </p:nvSpPr>
        <p:spPr bwMode="auto"/>
        <p:txBody>
          <a:bodyPr/>
          <a:lstStyle/>
          <a:p>
            <a:pPr>
              <a:defRPr/>
            </a:pPr>
            <a:r>
              <a:rPr lang="en-US"/>
              <a:t>Click to edit Master title style</a:t>
            </a:r>
            <a:endParaRPr/>
          </a:p>
        </p:txBody>
      </p:sp>
      <p:sp>
        <p:nvSpPr>
          <p:cNvPr id="5" name="Vertical Text Placeholder 2"/>
          <p:cNvSpPr>
            <a:spLocks noGrp="1"/>
          </p:cNvSpPr>
          <p:nvPr>
            <p:ph type="body" orient="vert" idx="1"/>
          </p:nvPr>
        </p:nvSpPr>
        <p:spPr bwMode="auto"/>
        <p:txBody>
          <a:bodyPr vert="eaVert"/>
          <a:lstStyle/>
          <a:p>
            <a:pPr lvl="0">
              <a:defRPr/>
            </a:pPr>
            <a:r>
              <a:rPr lang="en-US"/>
              <a:t>Click to edit Master text styles</a:t>
            </a:r>
            <a:endParaRPr/>
          </a:p>
          <a:p>
            <a:pPr lvl="1">
              <a:defRPr/>
            </a:pPr>
            <a:r>
              <a:rPr lang="en-US"/>
              <a:t>Second level</a:t>
            </a:r>
            <a:endParaRPr/>
          </a:p>
          <a:p>
            <a:pPr lvl="2">
              <a:defRPr/>
            </a:pPr>
            <a:r>
              <a:rPr lang="en-US"/>
              <a:t>Third level</a:t>
            </a:r>
            <a:endParaRPr/>
          </a:p>
          <a:p>
            <a:pPr lvl="3">
              <a:defRPr/>
            </a:pPr>
            <a:r>
              <a:rPr lang="en-US"/>
              <a:t>Fourth level</a:t>
            </a:r>
            <a:endParaRPr/>
          </a:p>
          <a:p>
            <a:pPr lvl="4">
              <a:defRPr/>
            </a:pPr>
            <a:r>
              <a:rPr lang="en-US"/>
              <a:t>Fifth level</a:t>
            </a:r>
            <a:endParaRPr/>
          </a:p>
        </p:txBody>
      </p:sp>
      <p:sp>
        <p:nvSpPr>
          <p:cNvPr id="6" name="Date Placeholder 3"/>
          <p:cNvSpPr>
            <a:spLocks noGrp="1"/>
          </p:cNvSpPr>
          <p:nvPr>
            <p:ph type="dt" sz="half" idx="10"/>
          </p:nvPr>
        </p:nvSpPr>
        <p:spPr bwMode="auto"/>
        <p:txBody>
          <a:bodyPr/>
          <a:lstStyle/>
          <a:p>
            <a:pPr>
              <a:defRPr/>
            </a:pPr>
            <a:fld id="{72345051-2045-45DA-935E-2E3CA1A69ADC}" type="datetimeFigureOut">
              <a:rPr lang="en-US"/>
              <a:t>04.05.22</a:t>
            </a:fld>
            <a:endParaRPr lang="en-US"/>
          </a:p>
        </p:txBody>
      </p:sp>
      <p:sp>
        <p:nvSpPr>
          <p:cNvPr id="7" name="Footer Placeholder 4"/>
          <p:cNvSpPr>
            <a:spLocks noGrp="1"/>
          </p:cNvSpPr>
          <p:nvPr>
            <p:ph type="ftr" sz="quarter" idx="11"/>
          </p:nvPr>
        </p:nvSpPr>
        <p:spPr bwMode="auto"/>
        <p:txBody>
          <a:bodyPr/>
          <a:lstStyle/>
          <a:p>
            <a:pPr>
              <a:defRPr/>
            </a:pPr>
            <a:endParaRPr lang="en-US"/>
          </a:p>
        </p:txBody>
      </p:sp>
      <p:sp>
        <p:nvSpPr>
          <p:cNvPr id="8" name="Slide Number Placeholder 5"/>
          <p:cNvSpPr>
            <a:spLocks noGrp="1"/>
          </p:cNvSpPr>
          <p:nvPr>
            <p:ph type="sldNum" sz="quarter" idx="12"/>
          </p:nvPr>
        </p:nvSpPr>
        <p:spPr bwMode="auto"/>
        <p:txBody>
          <a:bodyPr/>
          <a:lstStyle/>
          <a:p>
            <a:pPr>
              <a:defRPr/>
            </a:pPr>
            <a:fld id="{A7CD31F4-64FA-4BA0-9498-67783267A8C8}" type="slidenum">
              <a:rPr lang="en-US"/>
              <a:t>‹Nr.›</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PhAnim="0" type="vertTitleAndTx" preserve="1" userDrawn="1">
  <p:cSld name="Vertical Title and Text">
    <p:spTree>
      <p:nvGrpSpPr>
        <p:cNvPr id="1" name=""/>
        <p:cNvGrpSpPr/>
        <p:nvPr/>
      </p:nvGrpSpPr>
      <p:grpSpPr bwMode="auto">
        <a:xfrm>
          <a:off x="0" y="0"/>
          <a:ext cx="0" cy="0"/>
          <a:chOff x="0" y="0"/>
          <a:chExt cx="0" cy="0"/>
        </a:xfrm>
      </p:grpSpPr>
      <p:sp>
        <p:nvSpPr>
          <p:cNvPr id="4" name="Vertical Title 1"/>
          <p:cNvSpPr>
            <a:spLocks noGrp="1"/>
          </p:cNvSpPr>
          <p:nvPr>
            <p:ph type="title" orient="vert"/>
          </p:nvPr>
        </p:nvSpPr>
        <p:spPr bwMode="auto">
          <a:xfrm>
            <a:off x="8724900" y="365125"/>
            <a:ext cx="2628900" cy="5811838"/>
          </a:xfrm>
        </p:spPr>
        <p:txBody>
          <a:bodyPr vert="eaVert"/>
          <a:lstStyle/>
          <a:p>
            <a:pPr>
              <a:defRPr/>
            </a:pPr>
            <a:r>
              <a:rPr lang="en-US"/>
              <a:t>Click to edit Master title style</a:t>
            </a:r>
            <a:endParaRPr/>
          </a:p>
        </p:txBody>
      </p:sp>
      <p:sp>
        <p:nvSpPr>
          <p:cNvPr id="5" name="Vertical Text Placeholder 2"/>
          <p:cNvSpPr>
            <a:spLocks noGrp="1"/>
          </p:cNvSpPr>
          <p:nvPr>
            <p:ph type="body" orient="vert" idx="1"/>
          </p:nvPr>
        </p:nvSpPr>
        <p:spPr bwMode="auto">
          <a:xfrm>
            <a:off x="838200" y="365125"/>
            <a:ext cx="7734300" cy="5811838"/>
          </a:xfrm>
        </p:spPr>
        <p:txBody>
          <a:bodyPr vert="eaVert"/>
          <a:lstStyle/>
          <a:p>
            <a:pPr lvl="0">
              <a:defRPr/>
            </a:pPr>
            <a:r>
              <a:rPr lang="en-US"/>
              <a:t>Click to edit Master text styles</a:t>
            </a:r>
            <a:endParaRPr/>
          </a:p>
          <a:p>
            <a:pPr lvl="1">
              <a:defRPr/>
            </a:pPr>
            <a:r>
              <a:rPr lang="en-US"/>
              <a:t>Second level</a:t>
            </a:r>
            <a:endParaRPr/>
          </a:p>
          <a:p>
            <a:pPr lvl="2">
              <a:defRPr/>
            </a:pPr>
            <a:r>
              <a:rPr lang="en-US"/>
              <a:t>Third level</a:t>
            </a:r>
            <a:endParaRPr/>
          </a:p>
          <a:p>
            <a:pPr lvl="3">
              <a:defRPr/>
            </a:pPr>
            <a:r>
              <a:rPr lang="en-US"/>
              <a:t>Fourth level</a:t>
            </a:r>
            <a:endParaRPr/>
          </a:p>
          <a:p>
            <a:pPr lvl="4">
              <a:defRPr/>
            </a:pPr>
            <a:r>
              <a:rPr lang="en-US"/>
              <a:t>Fifth level</a:t>
            </a:r>
            <a:endParaRPr/>
          </a:p>
        </p:txBody>
      </p:sp>
      <p:sp>
        <p:nvSpPr>
          <p:cNvPr id="6" name="Date Placeholder 3"/>
          <p:cNvSpPr>
            <a:spLocks noGrp="1"/>
          </p:cNvSpPr>
          <p:nvPr>
            <p:ph type="dt" sz="half" idx="10"/>
          </p:nvPr>
        </p:nvSpPr>
        <p:spPr bwMode="auto"/>
        <p:txBody>
          <a:bodyPr/>
          <a:lstStyle/>
          <a:p>
            <a:pPr>
              <a:defRPr/>
            </a:pPr>
            <a:fld id="{72345051-2045-45DA-935E-2E3CA1A69ADC}" type="datetimeFigureOut">
              <a:rPr lang="en-US"/>
              <a:t>04.05.22</a:t>
            </a:fld>
            <a:endParaRPr lang="en-US"/>
          </a:p>
        </p:txBody>
      </p:sp>
      <p:sp>
        <p:nvSpPr>
          <p:cNvPr id="7" name="Footer Placeholder 4"/>
          <p:cNvSpPr>
            <a:spLocks noGrp="1"/>
          </p:cNvSpPr>
          <p:nvPr>
            <p:ph type="ftr" sz="quarter" idx="11"/>
          </p:nvPr>
        </p:nvSpPr>
        <p:spPr bwMode="auto"/>
        <p:txBody>
          <a:bodyPr/>
          <a:lstStyle/>
          <a:p>
            <a:pPr>
              <a:defRPr/>
            </a:pPr>
            <a:endParaRPr lang="en-US"/>
          </a:p>
        </p:txBody>
      </p:sp>
      <p:sp>
        <p:nvSpPr>
          <p:cNvPr id="8" name="Slide Number Placeholder 5"/>
          <p:cNvSpPr>
            <a:spLocks noGrp="1"/>
          </p:cNvSpPr>
          <p:nvPr>
            <p:ph type="sldNum" sz="quarter" idx="12"/>
          </p:nvPr>
        </p:nvSpPr>
        <p:spPr bwMode="auto"/>
        <p:txBody>
          <a:bodyPr/>
          <a:lstStyle/>
          <a:p>
            <a:pPr>
              <a:defRPr/>
            </a:pPr>
            <a:fld id="{A7CD31F4-64FA-4BA0-9498-67783267A8C8}" type="slidenum">
              <a:rPr lang="en-US"/>
              <a:t>‹Nr.›</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el_Subtitel_Text">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spid="_x0000_s825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2122" y="1589"/>
                        <a:ext cx="2116"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smtClean="0"/>
              <a:t>Titelmasterformat durch Klicken bearbeiten</a:t>
            </a:r>
            <a:endParaRPr lang="de-DE" dirty="0"/>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r>
              <a:rPr lang="de-DE" smtClean="0"/>
              <a:t>Seite </a:t>
            </a:r>
            <a:fld id="{1744B4DD-8F10-491C-BFC2-D4DC64F16D79}" type="slidenum">
              <a:rPr lang="de-DE" smtClean="0"/>
              <a:pPr/>
              <a:t>‹Nr.›</a:t>
            </a:fld>
            <a:r>
              <a:rPr lang="de-DE" smtClean="0">
                <a:ea typeface="Verdana"/>
                <a:cs typeface="Verdana"/>
              </a:rPr>
              <a:t>│</a:t>
            </a:r>
            <a:endParaRPr lang="de-DE" dirty="0"/>
          </a:p>
        </p:txBody>
      </p:sp>
      <p:sp>
        <p:nvSpPr>
          <p:cNvPr id="10" name="Rechteck 9"/>
          <p:cNvSpPr/>
          <p:nvPr userDrawn="1"/>
        </p:nvSpPr>
        <p:spPr>
          <a:xfrm>
            <a:off x="3646127" y="6135344"/>
            <a:ext cx="8545876"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latin typeface="Calibri" panose="020F0502020204030204" pitchFamily="34" charset="0"/>
            </a:endParaRPr>
          </a:p>
        </p:txBody>
      </p:sp>
      <p:sp>
        <p:nvSpPr>
          <p:cNvPr id="9" name="Rechteck 8"/>
          <p:cNvSpPr/>
          <p:nvPr userDrawn="1"/>
        </p:nvSpPr>
        <p:spPr>
          <a:xfrm>
            <a:off x="0" y="6107116"/>
            <a:ext cx="48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latin typeface="Calibri" panose="020F0502020204030204" pitchFamily="34" charset="0"/>
            </a:endParaRPr>
          </a:p>
        </p:txBody>
      </p:sp>
      <p:sp>
        <p:nvSpPr>
          <p:cNvPr id="11" name="Textplatzhalter 10"/>
          <p:cNvSpPr>
            <a:spLocks noGrp="1"/>
          </p:cNvSpPr>
          <p:nvPr>
            <p:ph type="body" sz="quarter" idx="13" hasCustomPrompt="1"/>
          </p:nvPr>
        </p:nvSpPr>
        <p:spPr>
          <a:xfrm>
            <a:off x="334434" y="1146750"/>
            <a:ext cx="11523133" cy="480441"/>
          </a:xfrm>
        </p:spPr>
        <p:txBody>
          <a:bodyPr vert="horz" lIns="0" tIns="0" rIns="0" bIns="0" rtlCol="0" anchor="b" anchorCtr="0">
            <a:noAutofit/>
          </a:bodyPr>
          <a:lstStyle>
            <a:lvl1pPr>
              <a:defRPr lang="en-US" sz="2400" dirty="0">
                <a:solidFill>
                  <a:schemeClr val="tx2"/>
                </a:solidFill>
                <a:latin typeface="Calibri" panose="020F0502020204030204" pitchFamily="34" charset="0"/>
              </a:defRPr>
            </a:lvl1pPr>
          </a:lstStyle>
          <a:p>
            <a:pPr marL="0" lvl="0" indent="0">
              <a:buNone/>
            </a:pPr>
            <a:r>
              <a:rPr lang="de-DE" dirty="0" err="1" smtClean="0"/>
              <a:t>Subtitle</a:t>
            </a:r>
            <a:endParaRPr lang="en-US" dirty="0"/>
          </a:p>
        </p:txBody>
      </p:sp>
      <p:sp>
        <p:nvSpPr>
          <p:cNvPr id="15" name="Textplatzhalter 14"/>
          <p:cNvSpPr>
            <a:spLocks noGrp="1"/>
          </p:cNvSpPr>
          <p:nvPr>
            <p:ph type="body" sz="quarter" idx="14"/>
          </p:nvPr>
        </p:nvSpPr>
        <p:spPr>
          <a:xfrm>
            <a:off x="334434" y="1681164"/>
            <a:ext cx="11523133"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Tree>
    <p:extLst>
      <p:ext uri="{BB962C8B-B14F-4D97-AF65-F5344CB8AC3E}">
        <p14:creationId xmlns:p14="http://schemas.microsoft.com/office/powerpoint/2010/main" val="3754791554"/>
      </p:ext>
    </p:extLst>
  </p:cSld>
  <p:clrMapOvr>
    <a:masterClrMapping/>
  </p:clrMapOvr>
  <p:timing>
    <p:tnLst>
      <p:par>
        <p:cTn xmlns:p14="http://schemas.microsoft.com/office/powerpoint/2010/mai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el_Subtitle_Bild-2-Textfelder">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spid="_x0000_s927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2122" y="1589"/>
                        <a:ext cx="2116"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smtClean="0"/>
              <a:t>Titelmasterformat durch Klicken bearbeiten</a:t>
            </a:r>
            <a:endParaRPr lang="de-DE" dirty="0"/>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r>
              <a:rPr lang="de-DE" smtClean="0"/>
              <a:t>Seite </a:t>
            </a:r>
            <a:fld id="{1744B4DD-8F10-491C-BFC2-D4DC64F16D79}" type="slidenum">
              <a:rPr lang="de-DE" smtClean="0"/>
              <a:pPr/>
              <a:t>‹Nr.›</a:t>
            </a:fld>
            <a:r>
              <a:rPr lang="de-DE" smtClean="0">
                <a:ea typeface="Verdana"/>
                <a:cs typeface="Verdana"/>
              </a:rPr>
              <a:t>│</a:t>
            </a:r>
            <a:endParaRPr lang="de-DE" dirty="0"/>
          </a:p>
        </p:txBody>
      </p:sp>
      <p:sp>
        <p:nvSpPr>
          <p:cNvPr id="10" name="Rechteck 9"/>
          <p:cNvSpPr/>
          <p:nvPr userDrawn="1"/>
        </p:nvSpPr>
        <p:spPr>
          <a:xfrm>
            <a:off x="3646127" y="6135344"/>
            <a:ext cx="8545876"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latin typeface="Calibri" panose="020F0502020204030204" pitchFamily="34" charset="0"/>
            </a:endParaRPr>
          </a:p>
        </p:txBody>
      </p:sp>
      <p:sp>
        <p:nvSpPr>
          <p:cNvPr id="9" name="Rechteck 8"/>
          <p:cNvSpPr/>
          <p:nvPr userDrawn="1"/>
        </p:nvSpPr>
        <p:spPr>
          <a:xfrm>
            <a:off x="0" y="6107116"/>
            <a:ext cx="48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latin typeface="Calibri" panose="020F0502020204030204" pitchFamily="34" charset="0"/>
            </a:endParaRPr>
          </a:p>
        </p:txBody>
      </p:sp>
      <p:sp>
        <p:nvSpPr>
          <p:cNvPr id="13" name="Textplatzhalter 14"/>
          <p:cNvSpPr>
            <a:spLocks noGrp="1"/>
          </p:cNvSpPr>
          <p:nvPr>
            <p:ph type="body" sz="quarter" idx="15"/>
          </p:nvPr>
        </p:nvSpPr>
        <p:spPr>
          <a:xfrm>
            <a:off x="4224867" y="1681164"/>
            <a:ext cx="3742267"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14" name="Textplatzhalter 14"/>
          <p:cNvSpPr>
            <a:spLocks noGrp="1"/>
          </p:cNvSpPr>
          <p:nvPr>
            <p:ph type="body" sz="quarter" idx="16"/>
          </p:nvPr>
        </p:nvSpPr>
        <p:spPr>
          <a:xfrm>
            <a:off x="8162111" y="1681164"/>
            <a:ext cx="3695456"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7" name="Bildplatzhalter 6"/>
          <p:cNvSpPr>
            <a:spLocks noGrp="1"/>
          </p:cNvSpPr>
          <p:nvPr>
            <p:ph type="pic" sz="quarter" idx="17"/>
          </p:nvPr>
        </p:nvSpPr>
        <p:spPr>
          <a:xfrm>
            <a:off x="334437" y="1681164"/>
            <a:ext cx="3697817" cy="4378325"/>
          </a:xfrm>
        </p:spPr>
        <p:txBody>
          <a:bodyPr/>
          <a:lstStyle>
            <a:lvl1pPr marL="0" indent="0">
              <a:buNone/>
              <a:defRPr>
                <a:latin typeface="Calibri" panose="020F0502020204030204" pitchFamily="34" charset="0"/>
              </a:defRPr>
            </a:lvl1pPr>
          </a:lstStyle>
          <a:p>
            <a:endParaRPr lang="en-US" dirty="0"/>
          </a:p>
        </p:txBody>
      </p:sp>
      <p:sp>
        <p:nvSpPr>
          <p:cNvPr id="15" name="Textplatzhalter 10"/>
          <p:cNvSpPr>
            <a:spLocks noGrp="1"/>
          </p:cNvSpPr>
          <p:nvPr>
            <p:ph type="body" sz="quarter" idx="13" hasCustomPrompt="1"/>
          </p:nvPr>
        </p:nvSpPr>
        <p:spPr>
          <a:xfrm>
            <a:off x="334434" y="1146750"/>
            <a:ext cx="11523133" cy="480441"/>
          </a:xfrm>
        </p:spPr>
        <p:txBody>
          <a:bodyPr vert="horz" lIns="0" tIns="0" rIns="0" bIns="0" rtlCol="0" anchor="b" anchorCtr="0">
            <a:noAutofit/>
          </a:bodyPr>
          <a:lstStyle>
            <a:lvl1pPr>
              <a:defRPr lang="en-US" sz="2400" dirty="0">
                <a:solidFill>
                  <a:schemeClr val="tx2"/>
                </a:solidFill>
                <a:latin typeface="Calibri" panose="020F0502020204030204" pitchFamily="34" charset="0"/>
              </a:defRPr>
            </a:lvl1pPr>
          </a:lstStyle>
          <a:p>
            <a:pPr marL="0" lvl="0" indent="0">
              <a:buNone/>
            </a:pPr>
            <a:r>
              <a:rPr lang="de-DE" dirty="0" err="1" smtClean="0"/>
              <a:t>Subtitle</a:t>
            </a:r>
            <a:endParaRPr lang="en-US" dirty="0"/>
          </a:p>
        </p:txBody>
      </p:sp>
    </p:spTree>
    <p:extLst>
      <p:ext uri="{BB962C8B-B14F-4D97-AF65-F5344CB8AC3E}">
        <p14:creationId xmlns:p14="http://schemas.microsoft.com/office/powerpoint/2010/main" val="3442535383"/>
      </p:ext>
    </p:extLst>
  </p:cSld>
  <p:clrMapOvr>
    <a:masterClrMapping/>
  </p:clrMapOvr>
  <p:timing>
    <p:tnLst>
      <p:par>
        <p:cTn xmlns:p14="http://schemas.microsoft.com/office/powerpoint/2010/mai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PhAnim="0" type="obj" preserve="1" userDrawn="1">
  <p:cSld name="Title and Content">
    <p:spTree>
      <p:nvGrpSpPr>
        <p:cNvPr id="1" name=""/>
        <p:cNvGrpSpPr/>
        <p:nvPr/>
      </p:nvGrpSpPr>
      <p:grpSpPr bwMode="auto">
        <a:xfrm>
          <a:off x="0" y="0"/>
          <a:ext cx="0" cy="0"/>
          <a:chOff x="0" y="0"/>
          <a:chExt cx="0" cy="0"/>
        </a:xfrm>
      </p:grpSpPr>
      <p:sp>
        <p:nvSpPr>
          <p:cNvPr id="4" name="Title 1"/>
          <p:cNvSpPr>
            <a:spLocks noGrp="1"/>
          </p:cNvSpPr>
          <p:nvPr>
            <p:ph type="title"/>
          </p:nvPr>
        </p:nvSpPr>
        <p:spPr bwMode="auto"/>
        <p:txBody>
          <a:bodyPr/>
          <a:lstStyle/>
          <a:p>
            <a:pPr>
              <a:defRPr/>
            </a:pPr>
            <a:r>
              <a:rPr lang="en-US"/>
              <a:t>Click to edit Master title style</a:t>
            </a:r>
          </a:p>
        </p:txBody>
      </p:sp>
      <p:sp>
        <p:nvSpPr>
          <p:cNvPr id="5" name="Content Placeholder 2"/>
          <p:cNvSpPr>
            <a:spLocks noGrp="1"/>
          </p:cNvSpPr>
          <p:nvPr>
            <p:ph idx="1"/>
          </p:nvPr>
        </p:nvSpPr>
        <p:spPr bwMode="auto">
          <a:xfrm>
            <a:off x="838200" y="1929384"/>
            <a:ext cx="10515600" cy="4251960"/>
          </a:xfrm>
        </p:spPr>
        <p:txBody>
          <a:bodyPr>
            <a:normAutofit/>
          </a:bodyPr>
          <a:lstStyle>
            <a:lvl1pPr>
              <a:defRPr sz="2800"/>
            </a:lvl1pPr>
            <a:lvl2pPr>
              <a:defRPr sz="2400"/>
            </a:lvl2pPr>
            <a:lvl3pPr>
              <a:defRPr sz="2000"/>
            </a:lvl3pPr>
            <a:lvl4pPr>
              <a:defRPr sz="1800"/>
            </a:lvl4pPr>
            <a:lvl5pPr>
              <a:defRPr sz="1800"/>
            </a:lvl5pPr>
          </a:lstStyle>
          <a:p>
            <a:pPr lvl="0">
              <a:defRPr/>
            </a:pPr>
            <a:r>
              <a:rPr lang="en-US"/>
              <a:t>Click to edit Master text styles</a:t>
            </a:r>
            <a:endParaRPr/>
          </a:p>
          <a:p>
            <a:pPr lvl="1">
              <a:defRPr/>
            </a:pPr>
            <a:r>
              <a:rPr lang="en-US"/>
              <a:t>Second level</a:t>
            </a:r>
            <a:endParaRPr/>
          </a:p>
          <a:p>
            <a:pPr lvl="2">
              <a:defRPr/>
            </a:pPr>
            <a:r>
              <a:rPr lang="en-US"/>
              <a:t>Third level</a:t>
            </a:r>
            <a:endParaRPr/>
          </a:p>
          <a:p>
            <a:pPr lvl="3">
              <a:defRPr/>
            </a:pPr>
            <a:r>
              <a:rPr lang="en-US"/>
              <a:t>Fourth level</a:t>
            </a:r>
            <a:endParaRPr/>
          </a:p>
          <a:p>
            <a:pPr lvl="4">
              <a:defRPr/>
            </a:pPr>
            <a:r>
              <a:rPr lang="en-US"/>
              <a:t>Fifth level</a:t>
            </a:r>
            <a:endParaRPr/>
          </a:p>
        </p:txBody>
      </p:sp>
      <p:sp>
        <p:nvSpPr>
          <p:cNvPr id="6" name="Date Placeholder 3"/>
          <p:cNvSpPr>
            <a:spLocks noGrp="1"/>
          </p:cNvSpPr>
          <p:nvPr>
            <p:ph type="dt" sz="half" idx="10"/>
          </p:nvPr>
        </p:nvSpPr>
        <p:spPr bwMode="auto"/>
        <p:txBody>
          <a:bodyPr/>
          <a:lstStyle/>
          <a:p>
            <a:pPr>
              <a:defRPr/>
            </a:pPr>
            <a:fld id="{72345051-2045-45DA-935E-2E3CA1A69ADC}" type="datetimeFigureOut">
              <a:rPr lang="en-US"/>
              <a:t>04.05.22</a:t>
            </a:fld>
            <a:endParaRPr lang="en-US"/>
          </a:p>
        </p:txBody>
      </p:sp>
      <p:sp>
        <p:nvSpPr>
          <p:cNvPr id="7" name="Footer Placeholder 4"/>
          <p:cNvSpPr>
            <a:spLocks noGrp="1"/>
          </p:cNvSpPr>
          <p:nvPr>
            <p:ph type="ftr" sz="quarter" idx="11"/>
          </p:nvPr>
        </p:nvSpPr>
        <p:spPr bwMode="auto"/>
        <p:txBody>
          <a:bodyPr/>
          <a:lstStyle/>
          <a:p>
            <a:pPr>
              <a:defRPr/>
            </a:pPr>
            <a:endParaRPr lang="en-US"/>
          </a:p>
        </p:txBody>
      </p:sp>
      <p:sp>
        <p:nvSpPr>
          <p:cNvPr id="8" name="Slide Number Placeholder 5"/>
          <p:cNvSpPr>
            <a:spLocks noGrp="1"/>
          </p:cNvSpPr>
          <p:nvPr>
            <p:ph type="sldNum" sz="quarter" idx="12"/>
          </p:nvPr>
        </p:nvSpPr>
        <p:spPr bwMode="auto"/>
        <p:txBody>
          <a:bodyPr/>
          <a:lstStyle/>
          <a:p>
            <a:pPr>
              <a:defRPr/>
            </a:pPr>
            <a:fld id="{A7CD31F4-64FA-4BA0-9498-67783267A8C8}" type="slidenum">
              <a:rPr lang="en-US"/>
              <a:t>‹Nr.›</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PhAnim="0" type="secHead" preserve="1" userDrawn="1">
  <p:cSld name="Section Header">
    <p:spTree>
      <p:nvGrpSpPr>
        <p:cNvPr id="1" name=""/>
        <p:cNvGrpSpPr/>
        <p:nvPr/>
      </p:nvGrpSpPr>
      <p:grpSpPr bwMode="auto">
        <a:xfrm>
          <a:off x="0" y="0"/>
          <a:ext cx="0" cy="0"/>
          <a:chOff x="0" y="0"/>
          <a:chExt cx="0" cy="0"/>
        </a:xfrm>
      </p:grpSpPr>
      <p:sp>
        <p:nvSpPr>
          <p:cNvPr id="4" name="Title 1"/>
          <p:cNvSpPr>
            <a:spLocks noGrp="1"/>
          </p:cNvSpPr>
          <p:nvPr>
            <p:ph type="title"/>
          </p:nvPr>
        </p:nvSpPr>
        <p:spPr bwMode="auto">
          <a:xfrm>
            <a:off x="841248" y="448056"/>
            <a:ext cx="10515600" cy="4069080"/>
          </a:xfrm>
        </p:spPr>
        <p:txBody>
          <a:bodyPr anchor="b">
            <a:normAutofit/>
          </a:bodyPr>
          <a:lstStyle>
            <a:lvl1pPr>
              <a:defRPr sz="8000"/>
            </a:lvl1pPr>
          </a:lstStyle>
          <a:p>
            <a:pPr>
              <a:defRPr/>
            </a:pPr>
            <a:r>
              <a:rPr lang="en-US"/>
              <a:t>Click to edit Master title style</a:t>
            </a:r>
          </a:p>
        </p:txBody>
      </p:sp>
      <p:sp>
        <p:nvSpPr>
          <p:cNvPr id="5" name="Text Placeholder 2"/>
          <p:cNvSpPr>
            <a:spLocks noGrp="1"/>
          </p:cNvSpPr>
          <p:nvPr>
            <p:ph type="body" idx="1"/>
          </p:nvPr>
        </p:nvSpPr>
        <p:spPr bwMode="auto">
          <a:xfrm>
            <a:off x="841248" y="4983480"/>
            <a:ext cx="10515600" cy="1124712"/>
          </a:xfrm>
        </p:spPr>
        <p:txBody>
          <a:bodyPr>
            <a:normAutofit/>
          </a:bodyPr>
          <a:lstStyle>
            <a:lvl1pPr marL="0" indent="0">
              <a:buNone/>
              <a:defRPr sz="28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defRPr/>
            </a:pPr>
            <a:r>
              <a:rPr lang="en-US"/>
              <a:t>Click to edit Master text styles</a:t>
            </a:r>
            <a:endParaRPr/>
          </a:p>
        </p:txBody>
      </p:sp>
      <p:sp>
        <p:nvSpPr>
          <p:cNvPr id="6" name="Date Placeholder 3"/>
          <p:cNvSpPr>
            <a:spLocks noGrp="1"/>
          </p:cNvSpPr>
          <p:nvPr>
            <p:ph type="dt" sz="half" idx="10"/>
          </p:nvPr>
        </p:nvSpPr>
        <p:spPr bwMode="auto"/>
        <p:txBody>
          <a:bodyPr/>
          <a:lstStyle/>
          <a:p>
            <a:pPr>
              <a:defRPr/>
            </a:pPr>
            <a:fld id="{72345051-2045-45DA-935E-2E3CA1A69ADC}" type="datetimeFigureOut">
              <a:rPr lang="en-US"/>
              <a:t>04.05.22</a:t>
            </a:fld>
            <a:endParaRPr lang="en-US"/>
          </a:p>
        </p:txBody>
      </p:sp>
      <p:sp>
        <p:nvSpPr>
          <p:cNvPr id="7" name="Footer Placeholder 4"/>
          <p:cNvSpPr>
            <a:spLocks noGrp="1"/>
          </p:cNvSpPr>
          <p:nvPr>
            <p:ph type="ftr" sz="quarter" idx="11"/>
          </p:nvPr>
        </p:nvSpPr>
        <p:spPr bwMode="auto"/>
        <p:txBody>
          <a:bodyPr/>
          <a:lstStyle/>
          <a:p>
            <a:pPr>
              <a:defRPr/>
            </a:pPr>
            <a:endParaRPr lang="en-US"/>
          </a:p>
        </p:txBody>
      </p:sp>
      <p:sp>
        <p:nvSpPr>
          <p:cNvPr id="8" name="Slide Number Placeholder 5"/>
          <p:cNvSpPr>
            <a:spLocks noGrp="1"/>
          </p:cNvSpPr>
          <p:nvPr>
            <p:ph type="sldNum" sz="quarter" idx="12"/>
          </p:nvPr>
        </p:nvSpPr>
        <p:spPr bwMode="auto"/>
        <p:txBody>
          <a:bodyPr/>
          <a:lstStyle/>
          <a:p>
            <a:pPr>
              <a:defRPr/>
            </a:pPr>
            <a:fld id="{A7CD31F4-64FA-4BA0-9498-67783267A8C8}" type="slidenum">
              <a:rPr lang="en-US"/>
              <a:t>‹Nr.›</a:t>
            </a:fld>
            <a:endParaRPr lang="en-US"/>
          </a:p>
        </p:txBody>
      </p:sp>
      <p:sp>
        <p:nvSpPr>
          <p:cNvPr id="9" name="Rectangle 6" descr="Tag=AccentColor&#10;Flavor=Light&#10;Target=FillAndLine"/>
          <p:cNvSpPr/>
          <p:nvPr/>
        </p:nvSpPr>
        <p:spPr bwMode="auto">
          <a:xfrm>
            <a:off x="838200" y="4736883"/>
            <a:ext cx="4243589" cy="27432"/>
          </a:xfrm>
          <a:custGeom>
            <a:avLst/>
            <a:gdLst>
              <a:gd name="connsiteX0" fmla="*/ 0 w 4243589"/>
              <a:gd name="connsiteY0" fmla="*/ 0 h 27432"/>
              <a:gd name="connsiteX1" fmla="*/ 563791 w 4243589"/>
              <a:gd name="connsiteY1" fmla="*/ 0 h 27432"/>
              <a:gd name="connsiteX2" fmla="*/ 1042710 w 4243589"/>
              <a:gd name="connsiteY2" fmla="*/ 0 h 27432"/>
              <a:gd name="connsiteX3" fmla="*/ 1564066 w 4243589"/>
              <a:gd name="connsiteY3" fmla="*/ 0 h 27432"/>
              <a:gd name="connsiteX4" fmla="*/ 2212729 w 4243589"/>
              <a:gd name="connsiteY4" fmla="*/ 0 h 27432"/>
              <a:gd name="connsiteX5" fmla="*/ 2776520 w 4243589"/>
              <a:gd name="connsiteY5" fmla="*/ 0 h 27432"/>
              <a:gd name="connsiteX6" fmla="*/ 3297875 w 4243589"/>
              <a:gd name="connsiteY6" fmla="*/ 0 h 27432"/>
              <a:gd name="connsiteX7" fmla="*/ 4243589 w 4243589"/>
              <a:gd name="connsiteY7" fmla="*/ 0 h 27432"/>
              <a:gd name="connsiteX8" fmla="*/ 4243589 w 4243589"/>
              <a:gd name="connsiteY8" fmla="*/ 27432 h 27432"/>
              <a:gd name="connsiteX9" fmla="*/ 3637362 w 4243589"/>
              <a:gd name="connsiteY9" fmla="*/ 27432 h 27432"/>
              <a:gd name="connsiteX10" fmla="*/ 3116007 w 4243589"/>
              <a:gd name="connsiteY10" fmla="*/ 27432 h 27432"/>
              <a:gd name="connsiteX11" fmla="*/ 2424908 w 4243589"/>
              <a:gd name="connsiteY11" fmla="*/ 27432 h 27432"/>
              <a:gd name="connsiteX12" fmla="*/ 1861117 w 4243589"/>
              <a:gd name="connsiteY12" fmla="*/ 27432 h 27432"/>
              <a:gd name="connsiteX13" fmla="*/ 1382198 w 4243589"/>
              <a:gd name="connsiteY13" fmla="*/ 27432 h 27432"/>
              <a:gd name="connsiteX14" fmla="*/ 733535 w 4243589"/>
              <a:gd name="connsiteY14" fmla="*/ 27432 h 27432"/>
              <a:gd name="connsiteX15" fmla="*/ 0 w 4243589"/>
              <a:gd name="connsiteY15" fmla="*/ 27432 h 27432"/>
              <a:gd name="connsiteX16" fmla="*/ 0 w 4243589"/>
              <a:gd name="connsiteY16"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43589" h="27432" fill="none" extrusionOk="0">
                <a:moveTo>
                  <a:pt x="0" y="0"/>
                </a:moveTo>
                <a:cubicBezTo>
                  <a:pt x="157351" y="-15653"/>
                  <a:pt x="378877" y="-5828"/>
                  <a:pt x="563791" y="0"/>
                </a:cubicBezTo>
                <a:cubicBezTo>
                  <a:pt x="748705" y="5828"/>
                  <a:pt x="905659" y="-5525"/>
                  <a:pt x="1042710" y="0"/>
                </a:cubicBezTo>
                <a:cubicBezTo>
                  <a:pt x="1179761" y="5525"/>
                  <a:pt x="1356845" y="-21288"/>
                  <a:pt x="1564066" y="0"/>
                </a:cubicBezTo>
                <a:cubicBezTo>
                  <a:pt x="1771287" y="21288"/>
                  <a:pt x="1912099" y="25135"/>
                  <a:pt x="2212729" y="0"/>
                </a:cubicBezTo>
                <a:cubicBezTo>
                  <a:pt x="2513359" y="-25135"/>
                  <a:pt x="2514918" y="-27119"/>
                  <a:pt x="2776520" y="0"/>
                </a:cubicBezTo>
                <a:cubicBezTo>
                  <a:pt x="3038122" y="27119"/>
                  <a:pt x="3178771" y="18116"/>
                  <a:pt x="3297875" y="0"/>
                </a:cubicBezTo>
                <a:cubicBezTo>
                  <a:pt x="3416980" y="-18116"/>
                  <a:pt x="4012240" y="-40869"/>
                  <a:pt x="4243589" y="0"/>
                </a:cubicBezTo>
                <a:cubicBezTo>
                  <a:pt x="4242616" y="8304"/>
                  <a:pt x="4243111" y="21512"/>
                  <a:pt x="4243589" y="27432"/>
                </a:cubicBezTo>
                <a:cubicBezTo>
                  <a:pt x="4112949" y="6289"/>
                  <a:pt x="3928037" y="10975"/>
                  <a:pt x="3637362" y="27432"/>
                </a:cubicBezTo>
                <a:cubicBezTo>
                  <a:pt x="3346687" y="43889"/>
                  <a:pt x="3254446" y="35813"/>
                  <a:pt x="3116007" y="27432"/>
                </a:cubicBezTo>
                <a:cubicBezTo>
                  <a:pt x="2977569" y="19051"/>
                  <a:pt x="2620228" y="38017"/>
                  <a:pt x="2424908" y="27432"/>
                </a:cubicBezTo>
                <a:cubicBezTo>
                  <a:pt x="2229588" y="16847"/>
                  <a:pt x="2088287" y="5290"/>
                  <a:pt x="1861117" y="27432"/>
                </a:cubicBezTo>
                <a:cubicBezTo>
                  <a:pt x="1633947" y="49574"/>
                  <a:pt x="1502447" y="8273"/>
                  <a:pt x="1382198" y="27432"/>
                </a:cubicBezTo>
                <a:cubicBezTo>
                  <a:pt x="1261949" y="46591"/>
                  <a:pt x="1045440" y="37497"/>
                  <a:pt x="733535" y="27432"/>
                </a:cubicBezTo>
                <a:cubicBezTo>
                  <a:pt x="421630" y="17367"/>
                  <a:pt x="341257" y="-9215"/>
                  <a:pt x="0" y="27432"/>
                </a:cubicBezTo>
                <a:cubicBezTo>
                  <a:pt x="-1048" y="14992"/>
                  <a:pt x="-1120" y="7447"/>
                  <a:pt x="0" y="0"/>
                </a:cubicBezTo>
                <a:close/>
              </a:path>
              <a:path w="4243589" h="27432" stroke="0" extrusionOk="0">
                <a:moveTo>
                  <a:pt x="0" y="0"/>
                </a:moveTo>
                <a:cubicBezTo>
                  <a:pt x="128164" y="17204"/>
                  <a:pt x="312653" y="1129"/>
                  <a:pt x="563791" y="0"/>
                </a:cubicBezTo>
                <a:cubicBezTo>
                  <a:pt x="814929" y="-1129"/>
                  <a:pt x="837271" y="8503"/>
                  <a:pt x="1042710" y="0"/>
                </a:cubicBezTo>
                <a:cubicBezTo>
                  <a:pt x="1248149" y="-8503"/>
                  <a:pt x="1588432" y="-28862"/>
                  <a:pt x="1733809" y="0"/>
                </a:cubicBezTo>
                <a:cubicBezTo>
                  <a:pt x="1879186" y="28862"/>
                  <a:pt x="2052815" y="5974"/>
                  <a:pt x="2297600" y="0"/>
                </a:cubicBezTo>
                <a:cubicBezTo>
                  <a:pt x="2542385" y="-5974"/>
                  <a:pt x="2699960" y="-23550"/>
                  <a:pt x="2861391" y="0"/>
                </a:cubicBezTo>
                <a:cubicBezTo>
                  <a:pt x="3022822" y="23550"/>
                  <a:pt x="3390411" y="25272"/>
                  <a:pt x="3552490" y="0"/>
                </a:cubicBezTo>
                <a:cubicBezTo>
                  <a:pt x="3714569" y="-25272"/>
                  <a:pt x="3950585" y="-31327"/>
                  <a:pt x="4243589" y="0"/>
                </a:cubicBezTo>
                <a:cubicBezTo>
                  <a:pt x="4244074" y="9333"/>
                  <a:pt x="4244867" y="19699"/>
                  <a:pt x="4243589" y="27432"/>
                </a:cubicBezTo>
                <a:cubicBezTo>
                  <a:pt x="4130424" y="7904"/>
                  <a:pt x="3932803" y="51393"/>
                  <a:pt x="3722234" y="27432"/>
                </a:cubicBezTo>
                <a:cubicBezTo>
                  <a:pt x="3511665" y="3471"/>
                  <a:pt x="3269903" y="55138"/>
                  <a:pt x="3116007" y="27432"/>
                </a:cubicBezTo>
                <a:cubicBezTo>
                  <a:pt x="2962111" y="-274"/>
                  <a:pt x="2744280" y="32368"/>
                  <a:pt x="2509780" y="27432"/>
                </a:cubicBezTo>
                <a:cubicBezTo>
                  <a:pt x="2275280" y="22496"/>
                  <a:pt x="2066059" y="52808"/>
                  <a:pt x="1945989" y="27432"/>
                </a:cubicBezTo>
                <a:cubicBezTo>
                  <a:pt x="1825919" y="2056"/>
                  <a:pt x="1407329" y="21760"/>
                  <a:pt x="1254890" y="27432"/>
                </a:cubicBezTo>
                <a:cubicBezTo>
                  <a:pt x="1102451" y="33104"/>
                  <a:pt x="837950" y="40817"/>
                  <a:pt x="563791" y="27432"/>
                </a:cubicBezTo>
                <a:cubicBezTo>
                  <a:pt x="289632" y="14047"/>
                  <a:pt x="132768" y="16249"/>
                  <a:pt x="0" y="27432"/>
                </a:cubicBezTo>
                <a:cubicBezTo>
                  <a:pt x="211" y="18145"/>
                  <a:pt x="120" y="6480"/>
                  <a:pt x="0" y="0"/>
                </a:cubicBezTo>
                <a:close/>
              </a:path>
            </a:pathLst>
          </a:custGeom>
          <a:solidFill>
            <a:schemeClr val="tx1"/>
          </a:solidFill>
          <a:ln w="38100"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chemeClr val="tx1"/>
              </a:solidFill>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PhAnim="0" type="twoObj" preserve="1" userDrawn="1">
  <p:cSld name="Two Content">
    <p:spTree>
      <p:nvGrpSpPr>
        <p:cNvPr id="1" name=""/>
        <p:cNvGrpSpPr/>
        <p:nvPr/>
      </p:nvGrpSpPr>
      <p:grpSpPr bwMode="auto">
        <a:xfrm>
          <a:off x="0" y="0"/>
          <a:ext cx="0" cy="0"/>
          <a:chOff x="0" y="0"/>
          <a:chExt cx="0" cy="0"/>
        </a:xfrm>
      </p:grpSpPr>
      <p:sp>
        <p:nvSpPr>
          <p:cNvPr id="4" name="Title 1"/>
          <p:cNvSpPr>
            <a:spLocks noGrp="1"/>
          </p:cNvSpPr>
          <p:nvPr>
            <p:ph type="title"/>
          </p:nvPr>
        </p:nvSpPr>
        <p:spPr bwMode="auto"/>
        <p:txBody>
          <a:bodyPr/>
          <a:lstStyle/>
          <a:p>
            <a:pPr>
              <a:defRPr/>
            </a:pPr>
            <a:r>
              <a:rPr lang="en-US"/>
              <a:t>Click to edit Master title style</a:t>
            </a:r>
          </a:p>
        </p:txBody>
      </p:sp>
      <p:sp>
        <p:nvSpPr>
          <p:cNvPr id="5" name="Content Placeholder 2"/>
          <p:cNvSpPr>
            <a:spLocks noGrp="1"/>
          </p:cNvSpPr>
          <p:nvPr>
            <p:ph sz="half" idx="1"/>
          </p:nvPr>
        </p:nvSpPr>
        <p:spPr bwMode="auto">
          <a:xfrm>
            <a:off x="838200" y="1929384"/>
            <a:ext cx="5181600" cy="4251960"/>
          </a:xfrm>
        </p:spPr>
        <p:txBody>
          <a:bodyPr/>
          <a:lstStyle/>
          <a:p>
            <a:pPr lvl="0">
              <a:defRPr/>
            </a:pPr>
            <a:r>
              <a:rPr lang="en-US"/>
              <a:t>Click to edit Master text styles</a:t>
            </a:r>
            <a:endParaRPr/>
          </a:p>
          <a:p>
            <a:pPr lvl="1">
              <a:defRPr/>
            </a:pPr>
            <a:r>
              <a:rPr lang="en-US"/>
              <a:t>Second level</a:t>
            </a:r>
            <a:endParaRPr/>
          </a:p>
          <a:p>
            <a:pPr lvl="2">
              <a:defRPr/>
            </a:pPr>
            <a:r>
              <a:rPr lang="en-US"/>
              <a:t>Third level</a:t>
            </a:r>
            <a:endParaRPr/>
          </a:p>
          <a:p>
            <a:pPr lvl="3">
              <a:defRPr/>
            </a:pPr>
            <a:r>
              <a:rPr lang="en-US"/>
              <a:t>Fourth level</a:t>
            </a:r>
            <a:endParaRPr/>
          </a:p>
          <a:p>
            <a:pPr lvl="4">
              <a:defRPr/>
            </a:pPr>
            <a:r>
              <a:rPr lang="en-US"/>
              <a:t>Fifth level</a:t>
            </a:r>
            <a:endParaRPr/>
          </a:p>
        </p:txBody>
      </p:sp>
      <p:sp>
        <p:nvSpPr>
          <p:cNvPr id="6" name="Content Placeholder 3"/>
          <p:cNvSpPr>
            <a:spLocks noGrp="1"/>
          </p:cNvSpPr>
          <p:nvPr>
            <p:ph sz="half" idx="2"/>
          </p:nvPr>
        </p:nvSpPr>
        <p:spPr bwMode="auto">
          <a:xfrm>
            <a:off x="6172200" y="1929384"/>
            <a:ext cx="5181600" cy="4251960"/>
          </a:xfrm>
        </p:spPr>
        <p:txBody>
          <a:bodyPr/>
          <a:lstStyle/>
          <a:p>
            <a:pPr lvl="0">
              <a:defRPr/>
            </a:pPr>
            <a:r>
              <a:rPr lang="en-US"/>
              <a:t>Click to edit Master text styles</a:t>
            </a:r>
            <a:endParaRPr/>
          </a:p>
          <a:p>
            <a:pPr lvl="1">
              <a:defRPr/>
            </a:pPr>
            <a:r>
              <a:rPr lang="en-US"/>
              <a:t>Second level</a:t>
            </a:r>
            <a:endParaRPr/>
          </a:p>
          <a:p>
            <a:pPr lvl="2">
              <a:defRPr/>
            </a:pPr>
            <a:r>
              <a:rPr lang="en-US"/>
              <a:t>Third level</a:t>
            </a:r>
            <a:endParaRPr/>
          </a:p>
          <a:p>
            <a:pPr lvl="3">
              <a:defRPr/>
            </a:pPr>
            <a:r>
              <a:rPr lang="en-US"/>
              <a:t>Fourth level</a:t>
            </a:r>
            <a:endParaRPr/>
          </a:p>
          <a:p>
            <a:pPr lvl="4">
              <a:defRPr/>
            </a:pPr>
            <a:r>
              <a:rPr lang="en-US"/>
              <a:t>Fifth level</a:t>
            </a:r>
          </a:p>
        </p:txBody>
      </p:sp>
      <p:sp>
        <p:nvSpPr>
          <p:cNvPr id="7" name="Date Placeholder 4"/>
          <p:cNvSpPr>
            <a:spLocks noGrp="1"/>
          </p:cNvSpPr>
          <p:nvPr>
            <p:ph type="dt" sz="half" idx="10"/>
          </p:nvPr>
        </p:nvSpPr>
        <p:spPr bwMode="auto"/>
        <p:txBody>
          <a:bodyPr/>
          <a:lstStyle/>
          <a:p>
            <a:pPr>
              <a:defRPr/>
            </a:pPr>
            <a:fld id="{72345051-2045-45DA-935E-2E3CA1A69ADC}" type="datetimeFigureOut">
              <a:rPr lang="en-US"/>
              <a:t>04.05.22</a:t>
            </a:fld>
            <a:endParaRPr lang="en-US"/>
          </a:p>
        </p:txBody>
      </p:sp>
      <p:sp>
        <p:nvSpPr>
          <p:cNvPr id="8" name="Footer Placeholder 5"/>
          <p:cNvSpPr>
            <a:spLocks noGrp="1"/>
          </p:cNvSpPr>
          <p:nvPr>
            <p:ph type="ftr" sz="quarter" idx="11"/>
          </p:nvPr>
        </p:nvSpPr>
        <p:spPr bwMode="auto"/>
        <p:txBody>
          <a:bodyPr/>
          <a:lstStyle/>
          <a:p>
            <a:pPr>
              <a:defRPr/>
            </a:pPr>
            <a:endParaRPr lang="en-US"/>
          </a:p>
        </p:txBody>
      </p:sp>
      <p:sp>
        <p:nvSpPr>
          <p:cNvPr id="9" name="Slide Number Placeholder 6"/>
          <p:cNvSpPr>
            <a:spLocks noGrp="1"/>
          </p:cNvSpPr>
          <p:nvPr>
            <p:ph type="sldNum" sz="quarter" idx="12"/>
          </p:nvPr>
        </p:nvSpPr>
        <p:spPr bwMode="auto"/>
        <p:txBody>
          <a:bodyPr/>
          <a:lstStyle/>
          <a:p>
            <a:pPr>
              <a:defRPr/>
            </a:pPr>
            <a:fld id="{A7CD31F4-64FA-4BA0-9498-67783267A8C8}" type="slidenum">
              <a:rPr lang="en-US"/>
              <a:t>‹Nr.›</a:t>
            </a:fld>
            <a:endParaRPr lang="en-US"/>
          </a:p>
        </p:txBody>
      </p:sp>
      <p:sp>
        <p:nvSpPr>
          <p:cNvPr id="10" name="Rectangle 8" descr="Tag=AccentColor&#10;Flavor=Light&#10;Target=FillAndLine"/>
          <p:cNvSpPr/>
          <p:nvPr/>
        </p:nvSpPr>
        <p:spPr bwMode="auto">
          <a:xfrm>
            <a:off x="838198" y="1709928"/>
            <a:ext cx="10515600" cy="27432"/>
          </a:xfrm>
          <a:custGeom>
            <a:avLst/>
            <a:gdLst>
              <a:gd name="connsiteX0" fmla="*/ 0 w 10515600"/>
              <a:gd name="connsiteY0" fmla="*/ 0 h 27432"/>
              <a:gd name="connsiteX1" fmla="*/ 446913 w 10515600"/>
              <a:gd name="connsiteY1" fmla="*/ 0 h 27432"/>
              <a:gd name="connsiteX2" fmla="*/ 1104138 w 10515600"/>
              <a:gd name="connsiteY2" fmla="*/ 0 h 27432"/>
              <a:gd name="connsiteX3" fmla="*/ 1866519 w 10515600"/>
              <a:gd name="connsiteY3" fmla="*/ 0 h 27432"/>
              <a:gd name="connsiteX4" fmla="*/ 2208276 w 10515600"/>
              <a:gd name="connsiteY4" fmla="*/ 0 h 27432"/>
              <a:gd name="connsiteX5" fmla="*/ 2550033 w 10515600"/>
              <a:gd name="connsiteY5" fmla="*/ 0 h 27432"/>
              <a:gd name="connsiteX6" fmla="*/ 3417570 w 10515600"/>
              <a:gd name="connsiteY6" fmla="*/ 0 h 27432"/>
              <a:gd name="connsiteX7" fmla="*/ 4074795 w 10515600"/>
              <a:gd name="connsiteY7" fmla="*/ 0 h 27432"/>
              <a:gd name="connsiteX8" fmla="*/ 4416552 w 10515600"/>
              <a:gd name="connsiteY8" fmla="*/ 0 h 27432"/>
              <a:gd name="connsiteX9" fmla="*/ 5073777 w 10515600"/>
              <a:gd name="connsiteY9" fmla="*/ 0 h 27432"/>
              <a:gd name="connsiteX10" fmla="*/ 5941314 w 10515600"/>
              <a:gd name="connsiteY10" fmla="*/ 0 h 27432"/>
              <a:gd name="connsiteX11" fmla="*/ 6493383 w 10515600"/>
              <a:gd name="connsiteY11" fmla="*/ 0 h 27432"/>
              <a:gd name="connsiteX12" fmla="*/ 7045452 w 10515600"/>
              <a:gd name="connsiteY12" fmla="*/ 0 h 27432"/>
              <a:gd name="connsiteX13" fmla="*/ 7702677 w 10515600"/>
              <a:gd name="connsiteY13" fmla="*/ 0 h 27432"/>
              <a:gd name="connsiteX14" fmla="*/ 8465058 w 10515600"/>
              <a:gd name="connsiteY14" fmla="*/ 0 h 27432"/>
              <a:gd name="connsiteX15" fmla="*/ 9227439 w 10515600"/>
              <a:gd name="connsiteY15" fmla="*/ 0 h 27432"/>
              <a:gd name="connsiteX16" fmla="*/ 10515600 w 10515600"/>
              <a:gd name="connsiteY16" fmla="*/ 0 h 27432"/>
              <a:gd name="connsiteX17" fmla="*/ 10515600 w 10515600"/>
              <a:gd name="connsiteY17" fmla="*/ 27432 h 27432"/>
              <a:gd name="connsiteX18" fmla="*/ 10068687 w 10515600"/>
              <a:gd name="connsiteY18" fmla="*/ 27432 h 27432"/>
              <a:gd name="connsiteX19" fmla="*/ 9201150 w 10515600"/>
              <a:gd name="connsiteY19" fmla="*/ 27432 h 27432"/>
              <a:gd name="connsiteX20" fmla="*/ 8543925 w 10515600"/>
              <a:gd name="connsiteY20" fmla="*/ 27432 h 27432"/>
              <a:gd name="connsiteX21" fmla="*/ 8202168 w 10515600"/>
              <a:gd name="connsiteY21" fmla="*/ 27432 h 27432"/>
              <a:gd name="connsiteX22" fmla="*/ 7544943 w 10515600"/>
              <a:gd name="connsiteY22" fmla="*/ 27432 h 27432"/>
              <a:gd name="connsiteX23" fmla="*/ 6992874 w 10515600"/>
              <a:gd name="connsiteY23" fmla="*/ 27432 h 27432"/>
              <a:gd name="connsiteX24" fmla="*/ 6440805 w 10515600"/>
              <a:gd name="connsiteY24" fmla="*/ 27432 h 27432"/>
              <a:gd name="connsiteX25" fmla="*/ 5888736 w 10515600"/>
              <a:gd name="connsiteY25" fmla="*/ 27432 h 27432"/>
              <a:gd name="connsiteX26" fmla="*/ 5336667 w 10515600"/>
              <a:gd name="connsiteY26" fmla="*/ 27432 h 27432"/>
              <a:gd name="connsiteX27" fmla="*/ 4574286 w 10515600"/>
              <a:gd name="connsiteY27" fmla="*/ 27432 h 27432"/>
              <a:gd name="connsiteX28" fmla="*/ 3917061 w 10515600"/>
              <a:gd name="connsiteY28" fmla="*/ 27432 h 27432"/>
              <a:gd name="connsiteX29" fmla="*/ 3575304 w 10515600"/>
              <a:gd name="connsiteY29" fmla="*/ 27432 h 27432"/>
              <a:gd name="connsiteX30" fmla="*/ 3023235 w 10515600"/>
              <a:gd name="connsiteY30" fmla="*/ 27432 h 27432"/>
              <a:gd name="connsiteX31" fmla="*/ 2260854 w 10515600"/>
              <a:gd name="connsiteY31" fmla="*/ 27432 h 27432"/>
              <a:gd name="connsiteX32" fmla="*/ 1813941 w 10515600"/>
              <a:gd name="connsiteY32" fmla="*/ 27432 h 27432"/>
              <a:gd name="connsiteX33" fmla="*/ 946404 w 10515600"/>
              <a:gd name="connsiteY33" fmla="*/ 27432 h 27432"/>
              <a:gd name="connsiteX34" fmla="*/ 0 w 10515600"/>
              <a:gd name="connsiteY34" fmla="*/ 27432 h 27432"/>
              <a:gd name="connsiteX35" fmla="*/ 0 w 10515600"/>
              <a:gd name="connsiteY35"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515600" h="27432" fill="none" extrusionOk="0">
                <a:moveTo>
                  <a:pt x="0" y="0"/>
                </a:moveTo>
                <a:cubicBezTo>
                  <a:pt x="119693" y="-14343"/>
                  <a:pt x="253007" y="-7583"/>
                  <a:pt x="446913" y="0"/>
                </a:cubicBezTo>
                <a:cubicBezTo>
                  <a:pt x="640819" y="7583"/>
                  <a:pt x="841419" y="-7067"/>
                  <a:pt x="1104138" y="0"/>
                </a:cubicBezTo>
                <a:cubicBezTo>
                  <a:pt x="1366858" y="7067"/>
                  <a:pt x="1495525" y="1255"/>
                  <a:pt x="1866519" y="0"/>
                </a:cubicBezTo>
                <a:cubicBezTo>
                  <a:pt x="2237513" y="-1255"/>
                  <a:pt x="2043820" y="12003"/>
                  <a:pt x="2208276" y="0"/>
                </a:cubicBezTo>
                <a:cubicBezTo>
                  <a:pt x="2372732" y="-12003"/>
                  <a:pt x="2419452" y="9887"/>
                  <a:pt x="2550033" y="0"/>
                </a:cubicBezTo>
                <a:cubicBezTo>
                  <a:pt x="2680614" y="-9887"/>
                  <a:pt x="3098156" y="3827"/>
                  <a:pt x="3417570" y="0"/>
                </a:cubicBezTo>
                <a:cubicBezTo>
                  <a:pt x="3736984" y="-3827"/>
                  <a:pt x="3916040" y="-6233"/>
                  <a:pt x="4074795" y="0"/>
                </a:cubicBezTo>
                <a:cubicBezTo>
                  <a:pt x="4233551" y="6233"/>
                  <a:pt x="4279253" y="5661"/>
                  <a:pt x="4416552" y="0"/>
                </a:cubicBezTo>
                <a:cubicBezTo>
                  <a:pt x="4553851" y="-5661"/>
                  <a:pt x="4915758" y="26022"/>
                  <a:pt x="5073777" y="0"/>
                </a:cubicBezTo>
                <a:cubicBezTo>
                  <a:pt x="5231797" y="-26022"/>
                  <a:pt x="5612089" y="32230"/>
                  <a:pt x="5941314" y="0"/>
                </a:cubicBezTo>
                <a:cubicBezTo>
                  <a:pt x="6270539" y="-32230"/>
                  <a:pt x="6313600" y="3064"/>
                  <a:pt x="6493383" y="0"/>
                </a:cubicBezTo>
                <a:cubicBezTo>
                  <a:pt x="6673166" y="-3064"/>
                  <a:pt x="6902474" y="-21096"/>
                  <a:pt x="7045452" y="0"/>
                </a:cubicBezTo>
                <a:cubicBezTo>
                  <a:pt x="7188430" y="21096"/>
                  <a:pt x="7478162" y="17386"/>
                  <a:pt x="7702677" y="0"/>
                </a:cubicBezTo>
                <a:cubicBezTo>
                  <a:pt x="7927192" y="-17386"/>
                  <a:pt x="8295683" y="-35143"/>
                  <a:pt x="8465058" y="0"/>
                </a:cubicBezTo>
                <a:cubicBezTo>
                  <a:pt x="8634433" y="35143"/>
                  <a:pt x="8927835" y="4103"/>
                  <a:pt x="9227439" y="0"/>
                </a:cubicBezTo>
                <a:cubicBezTo>
                  <a:pt x="9527043" y="-4103"/>
                  <a:pt x="10105355" y="-17535"/>
                  <a:pt x="10515600" y="0"/>
                </a:cubicBezTo>
                <a:cubicBezTo>
                  <a:pt x="10515789" y="12323"/>
                  <a:pt x="10515633" y="14639"/>
                  <a:pt x="10515600" y="27432"/>
                </a:cubicBezTo>
                <a:cubicBezTo>
                  <a:pt x="10343646" y="15282"/>
                  <a:pt x="10223667" y="31057"/>
                  <a:pt x="10068687" y="27432"/>
                </a:cubicBezTo>
                <a:cubicBezTo>
                  <a:pt x="9913707" y="23807"/>
                  <a:pt x="9512455" y="4101"/>
                  <a:pt x="9201150" y="27432"/>
                </a:cubicBezTo>
                <a:cubicBezTo>
                  <a:pt x="8889845" y="50763"/>
                  <a:pt x="8866277" y="3158"/>
                  <a:pt x="8543925" y="27432"/>
                </a:cubicBezTo>
                <a:cubicBezTo>
                  <a:pt x="8221573" y="51706"/>
                  <a:pt x="8288348" y="37286"/>
                  <a:pt x="8202168" y="27432"/>
                </a:cubicBezTo>
                <a:cubicBezTo>
                  <a:pt x="8115988" y="17578"/>
                  <a:pt x="7797033" y="6631"/>
                  <a:pt x="7544943" y="27432"/>
                </a:cubicBezTo>
                <a:cubicBezTo>
                  <a:pt x="7292854" y="48233"/>
                  <a:pt x="7108060" y="41767"/>
                  <a:pt x="6992874" y="27432"/>
                </a:cubicBezTo>
                <a:cubicBezTo>
                  <a:pt x="6877688" y="13097"/>
                  <a:pt x="6668930" y="7947"/>
                  <a:pt x="6440805" y="27432"/>
                </a:cubicBezTo>
                <a:cubicBezTo>
                  <a:pt x="6212680" y="46917"/>
                  <a:pt x="6027476" y="35225"/>
                  <a:pt x="5888736" y="27432"/>
                </a:cubicBezTo>
                <a:cubicBezTo>
                  <a:pt x="5749996" y="19639"/>
                  <a:pt x="5574559" y="43627"/>
                  <a:pt x="5336667" y="27432"/>
                </a:cubicBezTo>
                <a:cubicBezTo>
                  <a:pt x="5098775" y="11237"/>
                  <a:pt x="4837534" y="41882"/>
                  <a:pt x="4574286" y="27432"/>
                </a:cubicBezTo>
                <a:cubicBezTo>
                  <a:pt x="4311038" y="12982"/>
                  <a:pt x="4126419" y="26678"/>
                  <a:pt x="3917061" y="27432"/>
                </a:cubicBezTo>
                <a:cubicBezTo>
                  <a:pt x="3707704" y="28186"/>
                  <a:pt x="3657291" y="40087"/>
                  <a:pt x="3575304" y="27432"/>
                </a:cubicBezTo>
                <a:cubicBezTo>
                  <a:pt x="3493317" y="14777"/>
                  <a:pt x="3185226" y="45867"/>
                  <a:pt x="3023235" y="27432"/>
                </a:cubicBezTo>
                <a:cubicBezTo>
                  <a:pt x="2861244" y="8997"/>
                  <a:pt x="2597085" y="35801"/>
                  <a:pt x="2260854" y="27432"/>
                </a:cubicBezTo>
                <a:cubicBezTo>
                  <a:pt x="1924623" y="19063"/>
                  <a:pt x="1996678" y="15705"/>
                  <a:pt x="1813941" y="27432"/>
                </a:cubicBezTo>
                <a:cubicBezTo>
                  <a:pt x="1631204" y="39159"/>
                  <a:pt x="1187542" y="49167"/>
                  <a:pt x="946404" y="27432"/>
                </a:cubicBezTo>
                <a:cubicBezTo>
                  <a:pt x="705266" y="5697"/>
                  <a:pt x="404743" y="28229"/>
                  <a:pt x="0" y="27432"/>
                </a:cubicBezTo>
                <a:cubicBezTo>
                  <a:pt x="244" y="15297"/>
                  <a:pt x="645" y="7129"/>
                  <a:pt x="0" y="0"/>
                </a:cubicBezTo>
                <a:close/>
              </a:path>
              <a:path w="10515600" h="27432" stroke="0" extrusionOk="0">
                <a:moveTo>
                  <a:pt x="0" y="0"/>
                </a:moveTo>
                <a:cubicBezTo>
                  <a:pt x="230793" y="14353"/>
                  <a:pt x="332416" y="21392"/>
                  <a:pt x="552069" y="0"/>
                </a:cubicBezTo>
                <a:cubicBezTo>
                  <a:pt x="771722" y="-21392"/>
                  <a:pt x="761737" y="-14337"/>
                  <a:pt x="893826" y="0"/>
                </a:cubicBezTo>
                <a:cubicBezTo>
                  <a:pt x="1025915" y="14337"/>
                  <a:pt x="1441584" y="-15498"/>
                  <a:pt x="1761363" y="0"/>
                </a:cubicBezTo>
                <a:cubicBezTo>
                  <a:pt x="2081142" y="15498"/>
                  <a:pt x="2111503" y="7278"/>
                  <a:pt x="2313432" y="0"/>
                </a:cubicBezTo>
                <a:cubicBezTo>
                  <a:pt x="2515361" y="-7278"/>
                  <a:pt x="2743584" y="-17845"/>
                  <a:pt x="2865501" y="0"/>
                </a:cubicBezTo>
                <a:cubicBezTo>
                  <a:pt x="2987418" y="17845"/>
                  <a:pt x="3345183" y="8208"/>
                  <a:pt x="3733038" y="0"/>
                </a:cubicBezTo>
                <a:cubicBezTo>
                  <a:pt x="4120893" y="-8208"/>
                  <a:pt x="4009066" y="-3159"/>
                  <a:pt x="4179951" y="0"/>
                </a:cubicBezTo>
                <a:cubicBezTo>
                  <a:pt x="4350836" y="3159"/>
                  <a:pt x="4735020" y="17517"/>
                  <a:pt x="5047488" y="0"/>
                </a:cubicBezTo>
                <a:cubicBezTo>
                  <a:pt x="5359956" y="-17517"/>
                  <a:pt x="5662148" y="-17777"/>
                  <a:pt x="5915025" y="0"/>
                </a:cubicBezTo>
                <a:cubicBezTo>
                  <a:pt x="6167902" y="17777"/>
                  <a:pt x="6308797" y="30350"/>
                  <a:pt x="6572250" y="0"/>
                </a:cubicBezTo>
                <a:cubicBezTo>
                  <a:pt x="6835703" y="-30350"/>
                  <a:pt x="7107419" y="-9627"/>
                  <a:pt x="7439787" y="0"/>
                </a:cubicBezTo>
                <a:cubicBezTo>
                  <a:pt x="7772155" y="9627"/>
                  <a:pt x="7844034" y="-9098"/>
                  <a:pt x="7991856" y="0"/>
                </a:cubicBezTo>
                <a:cubicBezTo>
                  <a:pt x="8139678" y="9098"/>
                  <a:pt x="8289889" y="-20239"/>
                  <a:pt x="8543925" y="0"/>
                </a:cubicBezTo>
                <a:cubicBezTo>
                  <a:pt x="8797961" y="20239"/>
                  <a:pt x="8994198" y="29575"/>
                  <a:pt x="9306306" y="0"/>
                </a:cubicBezTo>
                <a:cubicBezTo>
                  <a:pt x="9618414" y="-29575"/>
                  <a:pt x="9739118" y="-23835"/>
                  <a:pt x="9858375" y="0"/>
                </a:cubicBezTo>
                <a:cubicBezTo>
                  <a:pt x="9977632" y="23835"/>
                  <a:pt x="10370488" y="-4069"/>
                  <a:pt x="10515600" y="0"/>
                </a:cubicBezTo>
                <a:cubicBezTo>
                  <a:pt x="10515650" y="5798"/>
                  <a:pt x="10515903" y="19375"/>
                  <a:pt x="10515600" y="27432"/>
                </a:cubicBezTo>
                <a:cubicBezTo>
                  <a:pt x="10304538" y="42307"/>
                  <a:pt x="10069280" y="3335"/>
                  <a:pt x="9753219" y="27432"/>
                </a:cubicBezTo>
                <a:cubicBezTo>
                  <a:pt x="9437158" y="51529"/>
                  <a:pt x="9488415" y="23852"/>
                  <a:pt x="9411462" y="27432"/>
                </a:cubicBezTo>
                <a:cubicBezTo>
                  <a:pt x="9334509" y="31012"/>
                  <a:pt x="9183755" y="44107"/>
                  <a:pt x="8964549" y="27432"/>
                </a:cubicBezTo>
                <a:cubicBezTo>
                  <a:pt x="8745343" y="10757"/>
                  <a:pt x="8279150" y="61693"/>
                  <a:pt x="8097012" y="27432"/>
                </a:cubicBezTo>
                <a:cubicBezTo>
                  <a:pt x="7914874" y="-6829"/>
                  <a:pt x="7608717" y="59556"/>
                  <a:pt x="7439787" y="27432"/>
                </a:cubicBezTo>
                <a:cubicBezTo>
                  <a:pt x="7270858" y="-4692"/>
                  <a:pt x="7154492" y="27026"/>
                  <a:pt x="6992874" y="27432"/>
                </a:cubicBezTo>
                <a:cubicBezTo>
                  <a:pt x="6831256" y="27838"/>
                  <a:pt x="6536817" y="51174"/>
                  <a:pt x="6335649" y="27432"/>
                </a:cubicBezTo>
                <a:cubicBezTo>
                  <a:pt x="6134481" y="3690"/>
                  <a:pt x="6097824" y="11070"/>
                  <a:pt x="5993892" y="27432"/>
                </a:cubicBezTo>
                <a:cubicBezTo>
                  <a:pt x="5889960" y="43794"/>
                  <a:pt x="5793821" y="34098"/>
                  <a:pt x="5652135" y="27432"/>
                </a:cubicBezTo>
                <a:cubicBezTo>
                  <a:pt x="5510449" y="20766"/>
                  <a:pt x="5168382" y="-3650"/>
                  <a:pt x="4994910" y="27432"/>
                </a:cubicBezTo>
                <a:cubicBezTo>
                  <a:pt x="4821439" y="58514"/>
                  <a:pt x="4653937" y="21362"/>
                  <a:pt x="4547997" y="27432"/>
                </a:cubicBezTo>
                <a:cubicBezTo>
                  <a:pt x="4442057" y="33502"/>
                  <a:pt x="4153363" y="33024"/>
                  <a:pt x="3785616" y="27432"/>
                </a:cubicBezTo>
                <a:cubicBezTo>
                  <a:pt x="3417869" y="21840"/>
                  <a:pt x="3544908" y="29840"/>
                  <a:pt x="3338703" y="27432"/>
                </a:cubicBezTo>
                <a:cubicBezTo>
                  <a:pt x="3132498" y="25024"/>
                  <a:pt x="2782152" y="45947"/>
                  <a:pt x="2576322" y="27432"/>
                </a:cubicBezTo>
                <a:cubicBezTo>
                  <a:pt x="2370492" y="8917"/>
                  <a:pt x="2347214" y="14129"/>
                  <a:pt x="2234565" y="27432"/>
                </a:cubicBezTo>
                <a:cubicBezTo>
                  <a:pt x="2121916" y="40735"/>
                  <a:pt x="1785921" y="49081"/>
                  <a:pt x="1472184" y="27432"/>
                </a:cubicBezTo>
                <a:cubicBezTo>
                  <a:pt x="1158447" y="5783"/>
                  <a:pt x="1203910" y="37937"/>
                  <a:pt x="1025271" y="27432"/>
                </a:cubicBezTo>
                <a:cubicBezTo>
                  <a:pt x="846632" y="16927"/>
                  <a:pt x="846577" y="17996"/>
                  <a:pt x="683514" y="27432"/>
                </a:cubicBezTo>
                <a:cubicBezTo>
                  <a:pt x="520451" y="36868"/>
                  <a:pt x="320799" y="46677"/>
                  <a:pt x="0" y="27432"/>
                </a:cubicBezTo>
                <a:cubicBezTo>
                  <a:pt x="-510" y="19859"/>
                  <a:pt x="-1106" y="11474"/>
                  <a:pt x="0" y="0"/>
                </a:cubicBezTo>
                <a:close/>
              </a:path>
            </a:pathLst>
          </a:custGeom>
          <a:solidFill>
            <a:schemeClr val="tx1"/>
          </a:solidFill>
          <a:ln w="38100"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chemeClr val="tx1"/>
              </a:solidFill>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PhAnim="0" type="twoTxTwoObj" preserve="1" userDrawn="1">
  <p:cSld name="Comparison">
    <p:spTree>
      <p:nvGrpSpPr>
        <p:cNvPr id="1" name=""/>
        <p:cNvGrpSpPr/>
        <p:nvPr/>
      </p:nvGrpSpPr>
      <p:grpSpPr bwMode="auto">
        <a:xfrm>
          <a:off x="0" y="0"/>
          <a:ext cx="0" cy="0"/>
          <a:chOff x="0" y="0"/>
          <a:chExt cx="0" cy="0"/>
        </a:xfrm>
      </p:grpSpPr>
      <p:sp>
        <p:nvSpPr>
          <p:cNvPr id="4" name="Title 1"/>
          <p:cNvSpPr>
            <a:spLocks noGrp="1"/>
          </p:cNvSpPr>
          <p:nvPr>
            <p:ph type="title"/>
          </p:nvPr>
        </p:nvSpPr>
        <p:spPr bwMode="auto">
          <a:xfrm>
            <a:off x="839788" y="365125"/>
            <a:ext cx="10515600" cy="1325563"/>
          </a:xfrm>
        </p:spPr>
        <p:txBody>
          <a:bodyPr/>
          <a:lstStyle/>
          <a:p>
            <a:pPr>
              <a:defRPr/>
            </a:pPr>
            <a:r>
              <a:rPr lang="en-US"/>
              <a:t>Click to edit Master title style</a:t>
            </a:r>
            <a:endParaRPr/>
          </a:p>
        </p:txBody>
      </p:sp>
      <p:sp>
        <p:nvSpPr>
          <p:cNvPr id="5" name="Text Placeholder 2"/>
          <p:cNvSpPr>
            <a:spLocks noGrp="1"/>
          </p:cNvSpPr>
          <p:nvPr>
            <p:ph type="body" idx="1"/>
          </p:nvPr>
        </p:nvSpPr>
        <p:spPr bwMode="auto">
          <a:xfrm>
            <a:off x="839788" y="1938528"/>
            <a:ext cx="5157787" cy="823912"/>
          </a:xfrm>
        </p:spPr>
        <p:txBody>
          <a:bodyPr anchor="b">
            <a:normAutofit/>
          </a:bodyPr>
          <a:lstStyle>
            <a:lvl1pPr marL="0" indent="0">
              <a:buNone/>
              <a:defRPr sz="3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defRPr/>
            </a:pPr>
            <a:r>
              <a:rPr lang="en-US"/>
              <a:t>Click to edit Master text styles</a:t>
            </a:r>
            <a:endParaRPr/>
          </a:p>
        </p:txBody>
      </p:sp>
      <p:sp>
        <p:nvSpPr>
          <p:cNvPr id="6" name="Content Placeholder 3"/>
          <p:cNvSpPr>
            <a:spLocks noGrp="1"/>
          </p:cNvSpPr>
          <p:nvPr>
            <p:ph sz="half" idx="2"/>
          </p:nvPr>
        </p:nvSpPr>
        <p:spPr bwMode="auto">
          <a:xfrm>
            <a:off x="839788" y="2926080"/>
            <a:ext cx="5157787" cy="3264408"/>
          </a:xfrm>
        </p:spPr>
        <p:txBody>
          <a:bodyPr/>
          <a:lstStyle/>
          <a:p>
            <a:pPr lvl="0">
              <a:defRPr/>
            </a:pPr>
            <a:r>
              <a:rPr lang="en-US"/>
              <a:t>Click to edit Master text styles</a:t>
            </a:r>
            <a:endParaRPr/>
          </a:p>
          <a:p>
            <a:pPr lvl="1">
              <a:defRPr/>
            </a:pPr>
            <a:r>
              <a:rPr lang="en-US"/>
              <a:t>Second level</a:t>
            </a:r>
            <a:endParaRPr/>
          </a:p>
          <a:p>
            <a:pPr lvl="2">
              <a:defRPr/>
            </a:pPr>
            <a:r>
              <a:rPr lang="en-US"/>
              <a:t>Third level</a:t>
            </a:r>
            <a:endParaRPr/>
          </a:p>
          <a:p>
            <a:pPr lvl="3">
              <a:defRPr/>
            </a:pPr>
            <a:r>
              <a:rPr lang="en-US"/>
              <a:t>Fourth level</a:t>
            </a:r>
            <a:endParaRPr/>
          </a:p>
          <a:p>
            <a:pPr lvl="4">
              <a:defRPr/>
            </a:pPr>
            <a:r>
              <a:rPr lang="en-US"/>
              <a:t>Fifth level</a:t>
            </a:r>
            <a:endParaRPr/>
          </a:p>
        </p:txBody>
      </p:sp>
      <p:sp>
        <p:nvSpPr>
          <p:cNvPr id="7" name="Text Placeholder 4"/>
          <p:cNvSpPr>
            <a:spLocks noGrp="1"/>
          </p:cNvSpPr>
          <p:nvPr>
            <p:ph type="body" sz="quarter" idx="3"/>
          </p:nvPr>
        </p:nvSpPr>
        <p:spPr bwMode="auto">
          <a:xfrm>
            <a:off x="6172200" y="1938528"/>
            <a:ext cx="5183188" cy="823912"/>
          </a:xfrm>
        </p:spPr>
        <p:txBody>
          <a:bodyPr anchor="b">
            <a:normAutofit/>
          </a:bodyPr>
          <a:lstStyle>
            <a:lvl1pPr marL="0" indent="0">
              <a:buNone/>
              <a:defRPr sz="3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defRPr/>
            </a:pPr>
            <a:r>
              <a:rPr lang="en-US"/>
              <a:t>Click to edit Master text styles</a:t>
            </a:r>
            <a:endParaRPr/>
          </a:p>
        </p:txBody>
      </p:sp>
      <p:sp>
        <p:nvSpPr>
          <p:cNvPr id="8" name="Content Placeholder 5"/>
          <p:cNvSpPr>
            <a:spLocks noGrp="1"/>
          </p:cNvSpPr>
          <p:nvPr>
            <p:ph sz="quarter" idx="4"/>
          </p:nvPr>
        </p:nvSpPr>
        <p:spPr bwMode="auto">
          <a:xfrm>
            <a:off x="6172200" y="2926080"/>
            <a:ext cx="5183188" cy="3264408"/>
          </a:xfrm>
        </p:spPr>
        <p:txBody>
          <a:bodyPr/>
          <a:lstStyle/>
          <a:p>
            <a:pPr lvl="0">
              <a:defRPr/>
            </a:pPr>
            <a:r>
              <a:rPr lang="en-US"/>
              <a:t>Click to edit Master text styles</a:t>
            </a:r>
            <a:endParaRPr/>
          </a:p>
          <a:p>
            <a:pPr lvl="1">
              <a:defRPr/>
            </a:pPr>
            <a:r>
              <a:rPr lang="en-US"/>
              <a:t>Second level</a:t>
            </a:r>
            <a:endParaRPr/>
          </a:p>
          <a:p>
            <a:pPr lvl="2">
              <a:defRPr/>
            </a:pPr>
            <a:r>
              <a:rPr lang="en-US"/>
              <a:t>Third level</a:t>
            </a:r>
            <a:endParaRPr/>
          </a:p>
          <a:p>
            <a:pPr lvl="3">
              <a:defRPr/>
            </a:pPr>
            <a:r>
              <a:rPr lang="en-US"/>
              <a:t>Fourth level</a:t>
            </a:r>
            <a:endParaRPr/>
          </a:p>
          <a:p>
            <a:pPr lvl="4">
              <a:defRPr/>
            </a:pPr>
            <a:r>
              <a:rPr lang="en-US"/>
              <a:t>Fifth level</a:t>
            </a:r>
          </a:p>
        </p:txBody>
      </p:sp>
      <p:sp>
        <p:nvSpPr>
          <p:cNvPr id="9" name="Date Placeholder 6"/>
          <p:cNvSpPr>
            <a:spLocks noGrp="1"/>
          </p:cNvSpPr>
          <p:nvPr>
            <p:ph type="dt" sz="half" idx="10"/>
          </p:nvPr>
        </p:nvSpPr>
        <p:spPr bwMode="auto"/>
        <p:txBody>
          <a:bodyPr/>
          <a:lstStyle/>
          <a:p>
            <a:pPr>
              <a:defRPr/>
            </a:pPr>
            <a:fld id="{72345051-2045-45DA-935E-2E3CA1A69ADC}" type="datetimeFigureOut">
              <a:rPr lang="en-US"/>
              <a:t>04.05.22</a:t>
            </a:fld>
            <a:endParaRPr lang="en-US"/>
          </a:p>
        </p:txBody>
      </p:sp>
      <p:sp>
        <p:nvSpPr>
          <p:cNvPr id="10" name="Footer Placeholder 7"/>
          <p:cNvSpPr>
            <a:spLocks noGrp="1"/>
          </p:cNvSpPr>
          <p:nvPr>
            <p:ph type="ftr" sz="quarter" idx="11"/>
          </p:nvPr>
        </p:nvSpPr>
        <p:spPr bwMode="auto"/>
        <p:txBody>
          <a:bodyPr/>
          <a:lstStyle/>
          <a:p>
            <a:pPr>
              <a:defRPr/>
            </a:pPr>
            <a:endParaRPr lang="en-US"/>
          </a:p>
        </p:txBody>
      </p:sp>
      <p:sp>
        <p:nvSpPr>
          <p:cNvPr id="11" name="Slide Number Placeholder 8"/>
          <p:cNvSpPr>
            <a:spLocks noGrp="1"/>
          </p:cNvSpPr>
          <p:nvPr>
            <p:ph type="sldNum" sz="quarter" idx="12"/>
          </p:nvPr>
        </p:nvSpPr>
        <p:spPr bwMode="auto"/>
        <p:txBody>
          <a:bodyPr/>
          <a:lstStyle/>
          <a:p>
            <a:pPr>
              <a:defRPr/>
            </a:pPr>
            <a:fld id="{A7CD31F4-64FA-4BA0-9498-67783267A8C8}" type="slidenum">
              <a:rPr lang="en-US"/>
              <a:t>‹Nr.›</a:t>
            </a:fld>
            <a:endParaRPr lang="en-US"/>
          </a:p>
        </p:txBody>
      </p:sp>
      <p:sp>
        <p:nvSpPr>
          <p:cNvPr id="12" name="Rectangle 10" descr="Tag=AccentColor&#10;Flavor=Light&#10;Target=FillAndLine"/>
          <p:cNvSpPr/>
          <p:nvPr/>
        </p:nvSpPr>
        <p:spPr bwMode="auto">
          <a:xfrm>
            <a:off x="838198" y="1709928"/>
            <a:ext cx="10515600" cy="27432"/>
          </a:xfrm>
          <a:custGeom>
            <a:avLst/>
            <a:gdLst>
              <a:gd name="connsiteX0" fmla="*/ 0 w 10515600"/>
              <a:gd name="connsiteY0" fmla="*/ 0 h 27432"/>
              <a:gd name="connsiteX1" fmla="*/ 446913 w 10515600"/>
              <a:gd name="connsiteY1" fmla="*/ 0 h 27432"/>
              <a:gd name="connsiteX2" fmla="*/ 1104138 w 10515600"/>
              <a:gd name="connsiteY2" fmla="*/ 0 h 27432"/>
              <a:gd name="connsiteX3" fmla="*/ 1866519 w 10515600"/>
              <a:gd name="connsiteY3" fmla="*/ 0 h 27432"/>
              <a:gd name="connsiteX4" fmla="*/ 2208276 w 10515600"/>
              <a:gd name="connsiteY4" fmla="*/ 0 h 27432"/>
              <a:gd name="connsiteX5" fmla="*/ 2550033 w 10515600"/>
              <a:gd name="connsiteY5" fmla="*/ 0 h 27432"/>
              <a:gd name="connsiteX6" fmla="*/ 3417570 w 10515600"/>
              <a:gd name="connsiteY6" fmla="*/ 0 h 27432"/>
              <a:gd name="connsiteX7" fmla="*/ 4074795 w 10515600"/>
              <a:gd name="connsiteY7" fmla="*/ 0 h 27432"/>
              <a:gd name="connsiteX8" fmla="*/ 4416552 w 10515600"/>
              <a:gd name="connsiteY8" fmla="*/ 0 h 27432"/>
              <a:gd name="connsiteX9" fmla="*/ 5073777 w 10515600"/>
              <a:gd name="connsiteY9" fmla="*/ 0 h 27432"/>
              <a:gd name="connsiteX10" fmla="*/ 5941314 w 10515600"/>
              <a:gd name="connsiteY10" fmla="*/ 0 h 27432"/>
              <a:gd name="connsiteX11" fmla="*/ 6493383 w 10515600"/>
              <a:gd name="connsiteY11" fmla="*/ 0 h 27432"/>
              <a:gd name="connsiteX12" fmla="*/ 7045452 w 10515600"/>
              <a:gd name="connsiteY12" fmla="*/ 0 h 27432"/>
              <a:gd name="connsiteX13" fmla="*/ 7702677 w 10515600"/>
              <a:gd name="connsiteY13" fmla="*/ 0 h 27432"/>
              <a:gd name="connsiteX14" fmla="*/ 8465058 w 10515600"/>
              <a:gd name="connsiteY14" fmla="*/ 0 h 27432"/>
              <a:gd name="connsiteX15" fmla="*/ 9227439 w 10515600"/>
              <a:gd name="connsiteY15" fmla="*/ 0 h 27432"/>
              <a:gd name="connsiteX16" fmla="*/ 10515600 w 10515600"/>
              <a:gd name="connsiteY16" fmla="*/ 0 h 27432"/>
              <a:gd name="connsiteX17" fmla="*/ 10515600 w 10515600"/>
              <a:gd name="connsiteY17" fmla="*/ 27432 h 27432"/>
              <a:gd name="connsiteX18" fmla="*/ 10068687 w 10515600"/>
              <a:gd name="connsiteY18" fmla="*/ 27432 h 27432"/>
              <a:gd name="connsiteX19" fmla="*/ 9201150 w 10515600"/>
              <a:gd name="connsiteY19" fmla="*/ 27432 h 27432"/>
              <a:gd name="connsiteX20" fmla="*/ 8543925 w 10515600"/>
              <a:gd name="connsiteY20" fmla="*/ 27432 h 27432"/>
              <a:gd name="connsiteX21" fmla="*/ 8202168 w 10515600"/>
              <a:gd name="connsiteY21" fmla="*/ 27432 h 27432"/>
              <a:gd name="connsiteX22" fmla="*/ 7544943 w 10515600"/>
              <a:gd name="connsiteY22" fmla="*/ 27432 h 27432"/>
              <a:gd name="connsiteX23" fmla="*/ 6992874 w 10515600"/>
              <a:gd name="connsiteY23" fmla="*/ 27432 h 27432"/>
              <a:gd name="connsiteX24" fmla="*/ 6440805 w 10515600"/>
              <a:gd name="connsiteY24" fmla="*/ 27432 h 27432"/>
              <a:gd name="connsiteX25" fmla="*/ 5888736 w 10515600"/>
              <a:gd name="connsiteY25" fmla="*/ 27432 h 27432"/>
              <a:gd name="connsiteX26" fmla="*/ 5336667 w 10515600"/>
              <a:gd name="connsiteY26" fmla="*/ 27432 h 27432"/>
              <a:gd name="connsiteX27" fmla="*/ 4574286 w 10515600"/>
              <a:gd name="connsiteY27" fmla="*/ 27432 h 27432"/>
              <a:gd name="connsiteX28" fmla="*/ 3917061 w 10515600"/>
              <a:gd name="connsiteY28" fmla="*/ 27432 h 27432"/>
              <a:gd name="connsiteX29" fmla="*/ 3575304 w 10515600"/>
              <a:gd name="connsiteY29" fmla="*/ 27432 h 27432"/>
              <a:gd name="connsiteX30" fmla="*/ 3023235 w 10515600"/>
              <a:gd name="connsiteY30" fmla="*/ 27432 h 27432"/>
              <a:gd name="connsiteX31" fmla="*/ 2260854 w 10515600"/>
              <a:gd name="connsiteY31" fmla="*/ 27432 h 27432"/>
              <a:gd name="connsiteX32" fmla="*/ 1813941 w 10515600"/>
              <a:gd name="connsiteY32" fmla="*/ 27432 h 27432"/>
              <a:gd name="connsiteX33" fmla="*/ 946404 w 10515600"/>
              <a:gd name="connsiteY33" fmla="*/ 27432 h 27432"/>
              <a:gd name="connsiteX34" fmla="*/ 0 w 10515600"/>
              <a:gd name="connsiteY34" fmla="*/ 27432 h 27432"/>
              <a:gd name="connsiteX35" fmla="*/ 0 w 10515600"/>
              <a:gd name="connsiteY35"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515600" h="27432" fill="none" extrusionOk="0">
                <a:moveTo>
                  <a:pt x="0" y="0"/>
                </a:moveTo>
                <a:cubicBezTo>
                  <a:pt x="119693" y="-14343"/>
                  <a:pt x="253007" y="-7583"/>
                  <a:pt x="446913" y="0"/>
                </a:cubicBezTo>
                <a:cubicBezTo>
                  <a:pt x="640819" y="7583"/>
                  <a:pt x="841419" y="-7067"/>
                  <a:pt x="1104138" y="0"/>
                </a:cubicBezTo>
                <a:cubicBezTo>
                  <a:pt x="1366858" y="7067"/>
                  <a:pt x="1495525" y="1255"/>
                  <a:pt x="1866519" y="0"/>
                </a:cubicBezTo>
                <a:cubicBezTo>
                  <a:pt x="2237513" y="-1255"/>
                  <a:pt x="2043820" y="12003"/>
                  <a:pt x="2208276" y="0"/>
                </a:cubicBezTo>
                <a:cubicBezTo>
                  <a:pt x="2372732" y="-12003"/>
                  <a:pt x="2419452" y="9887"/>
                  <a:pt x="2550033" y="0"/>
                </a:cubicBezTo>
                <a:cubicBezTo>
                  <a:pt x="2680614" y="-9887"/>
                  <a:pt x="3098156" y="3827"/>
                  <a:pt x="3417570" y="0"/>
                </a:cubicBezTo>
                <a:cubicBezTo>
                  <a:pt x="3736984" y="-3827"/>
                  <a:pt x="3916040" y="-6233"/>
                  <a:pt x="4074795" y="0"/>
                </a:cubicBezTo>
                <a:cubicBezTo>
                  <a:pt x="4233551" y="6233"/>
                  <a:pt x="4279253" y="5661"/>
                  <a:pt x="4416552" y="0"/>
                </a:cubicBezTo>
                <a:cubicBezTo>
                  <a:pt x="4553851" y="-5661"/>
                  <a:pt x="4915758" y="26022"/>
                  <a:pt x="5073777" y="0"/>
                </a:cubicBezTo>
                <a:cubicBezTo>
                  <a:pt x="5231797" y="-26022"/>
                  <a:pt x="5612089" y="32230"/>
                  <a:pt x="5941314" y="0"/>
                </a:cubicBezTo>
                <a:cubicBezTo>
                  <a:pt x="6270539" y="-32230"/>
                  <a:pt x="6313600" y="3064"/>
                  <a:pt x="6493383" y="0"/>
                </a:cubicBezTo>
                <a:cubicBezTo>
                  <a:pt x="6673166" y="-3064"/>
                  <a:pt x="6902474" y="-21096"/>
                  <a:pt x="7045452" y="0"/>
                </a:cubicBezTo>
                <a:cubicBezTo>
                  <a:pt x="7188430" y="21096"/>
                  <a:pt x="7478162" y="17386"/>
                  <a:pt x="7702677" y="0"/>
                </a:cubicBezTo>
                <a:cubicBezTo>
                  <a:pt x="7927192" y="-17386"/>
                  <a:pt x="8295683" y="-35143"/>
                  <a:pt x="8465058" y="0"/>
                </a:cubicBezTo>
                <a:cubicBezTo>
                  <a:pt x="8634433" y="35143"/>
                  <a:pt x="8927835" y="4103"/>
                  <a:pt x="9227439" y="0"/>
                </a:cubicBezTo>
                <a:cubicBezTo>
                  <a:pt x="9527043" y="-4103"/>
                  <a:pt x="10105355" y="-17535"/>
                  <a:pt x="10515600" y="0"/>
                </a:cubicBezTo>
                <a:cubicBezTo>
                  <a:pt x="10515789" y="12323"/>
                  <a:pt x="10515633" y="14639"/>
                  <a:pt x="10515600" y="27432"/>
                </a:cubicBezTo>
                <a:cubicBezTo>
                  <a:pt x="10343646" y="15282"/>
                  <a:pt x="10223667" y="31057"/>
                  <a:pt x="10068687" y="27432"/>
                </a:cubicBezTo>
                <a:cubicBezTo>
                  <a:pt x="9913707" y="23807"/>
                  <a:pt x="9512455" y="4101"/>
                  <a:pt x="9201150" y="27432"/>
                </a:cubicBezTo>
                <a:cubicBezTo>
                  <a:pt x="8889845" y="50763"/>
                  <a:pt x="8866277" y="3158"/>
                  <a:pt x="8543925" y="27432"/>
                </a:cubicBezTo>
                <a:cubicBezTo>
                  <a:pt x="8221573" y="51706"/>
                  <a:pt x="8288348" y="37286"/>
                  <a:pt x="8202168" y="27432"/>
                </a:cubicBezTo>
                <a:cubicBezTo>
                  <a:pt x="8115988" y="17578"/>
                  <a:pt x="7797033" y="6631"/>
                  <a:pt x="7544943" y="27432"/>
                </a:cubicBezTo>
                <a:cubicBezTo>
                  <a:pt x="7292854" y="48233"/>
                  <a:pt x="7108060" y="41767"/>
                  <a:pt x="6992874" y="27432"/>
                </a:cubicBezTo>
                <a:cubicBezTo>
                  <a:pt x="6877688" y="13097"/>
                  <a:pt x="6668930" y="7947"/>
                  <a:pt x="6440805" y="27432"/>
                </a:cubicBezTo>
                <a:cubicBezTo>
                  <a:pt x="6212680" y="46917"/>
                  <a:pt x="6027476" y="35225"/>
                  <a:pt x="5888736" y="27432"/>
                </a:cubicBezTo>
                <a:cubicBezTo>
                  <a:pt x="5749996" y="19639"/>
                  <a:pt x="5574559" y="43627"/>
                  <a:pt x="5336667" y="27432"/>
                </a:cubicBezTo>
                <a:cubicBezTo>
                  <a:pt x="5098775" y="11237"/>
                  <a:pt x="4837534" y="41882"/>
                  <a:pt x="4574286" y="27432"/>
                </a:cubicBezTo>
                <a:cubicBezTo>
                  <a:pt x="4311038" y="12982"/>
                  <a:pt x="4126419" y="26678"/>
                  <a:pt x="3917061" y="27432"/>
                </a:cubicBezTo>
                <a:cubicBezTo>
                  <a:pt x="3707704" y="28186"/>
                  <a:pt x="3657291" y="40087"/>
                  <a:pt x="3575304" y="27432"/>
                </a:cubicBezTo>
                <a:cubicBezTo>
                  <a:pt x="3493317" y="14777"/>
                  <a:pt x="3185226" y="45867"/>
                  <a:pt x="3023235" y="27432"/>
                </a:cubicBezTo>
                <a:cubicBezTo>
                  <a:pt x="2861244" y="8997"/>
                  <a:pt x="2597085" y="35801"/>
                  <a:pt x="2260854" y="27432"/>
                </a:cubicBezTo>
                <a:cubicBezTo>
                  <a:pt x="1924623" y="19063"/>
                  <a:pt x="1996678" y="15705"/>
                  <a:pt x="1813941" y="27432"/>
                </a:cubicBezTo>
                <a:cubicBezTo>
                  <a:pt x="1631204" y="39159"/>
                  <a:pt x="1187542" y="49167"/>
                  <a:pt x="946404" y="27432"/>
                </a:cubicBezTo>
                <a:cubicBezTo>
                  <a:pt x="705266" y="5697"/>
                  <a:pt x="404743" y="28229"/>
                  <a:pt x="0" y="27432"/>
                </a:cubicBezTo>
                <a:cubicBezTo>
                  <a:pt x="244" y="15297"/>
                  <a:pt x="645" y="7129"/>
                  <a:pt x="0" y="0"/>
                </a:cubicBezTo>
                <a:close/>
              </a:path>
              <a:path w="10515600" h="27432" stroke="0" extrusionOk="0">
                <a:moveTo>
                  <a:pt x="0" y="0"/>
                </a:moveTo>
                <a:cubicBezTo>
                  <a:pt x="230793" y="14353"/>
                  <a:pt x="332416" y="21392"/>
                  <a:pt x="552069" y="0"/>
                </a:cubicBezTo>
                <a:cubicBezTo>
                  <a:pt x="771722" y="-21392"/>
                  <a:pt x="761737" y="-14337"/>
                  <a:pt x="893826" y="0"/>
                </a:cubicBezTo>
                <a:cubicBezTo>
                  <a:pt x="1025915" y="14337"/>
                  <a:pt x="1441584" y="-15498"/>
                  <a:pt x="1761363" y="0"/>
                </a:cubicBezTo>
                <a:cubicBezTo>
                  <a:pt x="2081142" y="15498"/>
                  <a:pt x="2111503" y="7278"/>
                  <a:pt x="2313432" y="0"/>
                </a:cubicBezTo>
                <a:cubicBezTo>
                  <a:pt x="2515361" y="-7278"/>
                  <a:pt x="2743584" y="-17845"/>
                  <a:pt x="2865501" y="0"/>
                </a:cubicBezTo>
                <a:cubicBezTo>
                  <a:pt x="2987418" y="17845"/>
                  <a:pt x="3345183" y="8208"/>
                  <a:pt x="3733038" y="0"/>
                </a:cubicBezTo>
                <a:cubicBezTo>
                  <a:pt x="4120893" y="-8208"/>
                  <a:pt x="4009066" y="-3159"/>
                  <a:pt x="4179951" y="0"/>
                </a:cubicBezTo>
                <a:cubicBezTo>
                  <a:pt x="4350836" y="3159"/>
                  <a:pt x="4735020" y="17517"/>
                  <a:pt x="5047488" y="0"/>
                </a:cubicBezTo>
                <a:cubicBezTo>
                  <a:pt x="5359956" y="-17517"/>
                  <a:pt x="5662148" y="-17777"/>
                  <a:pt x="5915025" y="0"/>
                </a:cubicBezTo>
                <a:cubicBezTo>
                  <a:pt x="6167902" y="17777"/>
                  <a:pt x="6308797" y="30350"/>
                  <a:pt x="6572250" y="0"/>
                </a:cubicBezTo>
                <a:cubicBezTo>
                  <a:pt x="6835703" y="-30350"/>
                  <a:pt x="7107419" y="-9627"/>
                  <a:pt x="7439787" y="0"/>
                </a:cubicBezTo>
                <a:cubicBezTo>
                  <a:pt x="7772155" y="9627"/>
                  <a:pt x="7844034" y="-9098"/>
                  <a:pt x="7991856" y="0"/>
                </a:cubicBezTo>
                <a:cubicBezTo>
                  <a:pt x="8139678" y="9098"/>
                  <a:pt x="8289889" y="-20239"/>
                  <a:pt x="8543925" y="0"/>
                </a:cubicBezTo>
                <a:cubicBezTo>
                  <a:pt x="8797961" y="20239"/>
                  <a:pt x="8994198" y="29575"/>
                  <a:pt x="9306306" y="0"/>
                </a:cubicBezTo>
                <a:cubicBezTo>
                  <a:pt x="9618414" y="-29575"/>
                  <a:pt x="9739118" y="-23835"/>
                  <a:pt x="9858375" y="0"/>
                </a:cubicBezTo>
                <a:cubicBezTo>
                  <a:pt x="9977632" y="23835"/>
                  <a:pt x="10370488" y="-4069"/>
                  <a:pt x="10515600" y="0"/>
                </a:cubicBezTo>
                <a:cubicBezTo>
                  <a:pt x="10515650" y="5798"/>
                  <a:pt x="10515903" y="19375"/>
                  <a:pt x="10515600" y="27432"/>
                </a:cubicBezTo>
                <a:cubicBezTo>
                  <a:pt x="10304538" y="42307"/>
                  <a:pt x="10069280" y="3335"/>
                  <a:pt x="9753219" y="27432"/>
                </a:cubicBezTo>
                <a:cubicBezTo>
                  <a:pt x="9437158" y="51529"/>
                  <a:pt x="9488415" y="23852"/>
                  <a:pt x="9411462" y="27432"/>
                </a:cubicBezTo>
                <a:cubicBezTo>
                  <a:pt x="9334509" y="31012"/>
                  <a:pt x="9183755" y="44107"/>
                  <a:pt x="8964549" y="27432"/>
                </a:cubicBezTo>
                <a:cubicBezTo>
                  <a:pt x="8745343" y="10757"/>
                  <a:pt x="8279150" y="61693"/>
                  <a:pt x="8097012" y="27432"/>
                </a:cubicBezTo>
                <a:cubicBezTo>
                  <a:pt x="7914874" y="-6829"/>
                  <a:pt x="7608717" y="59556"/>
                  <a:pt x="7439787" y="27432"/>
                </a:cubicBezTo>
                <a:cubicBezTo>
                  <a:pt x="7270858" y="-4692"/>
                  <a:pt x="7154492" y="27026"/>
                  <a:pt x="6992874" y="27432"/>
                </a:cubicBezTo>
                <a:cubicBezTo>
                  <a:pt x="6831256" y="27838"/>
                  <a:pt x="6536817" y="51174"/>
                  <a:pt x="6335649" y="27432"/>
                </a:cubicBezTo>
                <a:cubicBezTo>
                  <a:pt x="6134481" y="3690"/>
                  <a:pt x="6097824" y="11070"/>
                  <a:pt x="5993892" y="27432"/>
                </a:cubicBezTo>
                <a:cubicBezTo>
                  <a:pt x="5889960" y="43794"/>
                  <a:pt x="5793821" y="34098"/>
                  <a:pt x="5652135" y="27432"/>
                </a:cubicBezTo>
                <a:cubicBezTo>
                  <a:pt x="5510449" y="20766"/>
                  <a:pt x="5168382" y="-3650"/>
                  <a:pt x="4994910" y="27432"/>
                </a:cubicBezTo>
                <a:cubicBezTo>
                  <a:pt x="4821439" y="58514"/>
                  <a:pt x="4653937" y="21362"/>
                  <a:pt x="4547997" y="27432"/>
                </a:cubicBezTo>
                <a:cubicBezTo>
                  <a:pt x="4442057" y="33502"/>
                  <a:pt x="4153363" y="33024"/>
                  <a:pt x="3785616" y="27432"/>
                </a:cubicBezTo>
                <a:cubicBezTo>
                  <a:pt x="3417869" y="21840"/>
                  <a:pt x="3544908" y="29840"/>
                  <a:pt x="3338703" y="27432"/>
                </a:cubicBezTo>
                <a:cubicBezTo>
                  <a:pt x="3132498" y="25024"/>
                  <a:pt x="2782152" y="45947"/>
                  <a:pt x="2576322" y="27432"/>
                </a:cubicBezTo>
                <a:cubicBezTo>
                  <a:pt x="2370492" y="8917"/>
                  <a:pt x="2347214" y="14129"/>
                  <a:pt x="2234565" y="27432"/>
                </a:cubicBezTo>
                <a:cubicBezTo>
                  <a:pt x="2121916" y="40735"/>
                  <a:pt x="1785921" y="49081"/>
                  <a:pt x="1472184" y="27432"/>
                </a:cubicBezTo>
                <a:cubicBezTo>
                  <a:pt x="1158447" y="5783"/>
                  <a:pt x="1203910" y="37937"/>
                  <a:pt x="1025271" y="27432"/>
                </a:cubicBezTo>
                <a:cubicBezTo>
                  <a:pt x="846632" y="16927"/>
                  <a:pt x="846577" y="17996"/>
                  <a:pt x="683514" y="27432"/>
                </a:cubicBezTo>
                <a:cubicBezTo>
                  <a:pt x="520451" y="36868"/>
                  <a:pt x="320799" y="46677"/>
                  <a:pt x="0" y="27432"/>
                </a:cubicBezTo>
                <a:cubicBezTo>
                  <a:pt x="-510" y="19859"/>
                  <a:pt x="-1106" y="11474"/>
                  <a:pt x="0" y="0"/>
                </a:cubicBezTo>
                <a:close/>
              </a:path>
            </a:pathLst>
          </a:custGeom>
          <a:solidFill>
            <a:schemeClr val="tx1"/>
          </a:solidFill>
          <a:ln w="38100"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chemeClr val="tx1"/>
              </a:solidFill>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PhAnim="0" type="titleOnly" preserve="1" userDrawn="1">
  <p:cSld name="Title Only">
    <p:spTree>
      <p:nvGrpSpPr>
        <p:cNvPr id="1" name=""/>
        <p:cNvGrpSpPr/>
        <p:nvPr/>
      </p:nvGrpSpPr>
      <p:grpSpPr bwMode="auto">
        <a:xfrm>
          <a:off x="0" y="0"/>
          <a:ext cx="0" cy="0"/>
          <a:chOff x="0" y="0"/>
          <a:chExt cx="0" cy="0"/>
        </a:xfrm>
      </p:grpSpPr>
      <p:sp>
        <p:nvSpPr>
          <p:cNvPr id="4" name="Title 1"/>
          <p:cNvSpPr>
            <a:spLocks noGrp="1"/>
          </p:cNvSpPr>
          <p:nvPr>
            <p:ph type="title"/>
          </p:nvPr>
        </p:nvSpPr>
        <p:spPr bwMode="auto">
          <a:xfrm>
            <a:off x="2203704" y="1728216"/>
            <a:ext cx="7781544" cy="3392424"/>
          </a:xfrm>
        </p:spPr>
        <p:txBody>
          <a:bodyPr>
            <a:normAutofit/>
          </a:bodyPr>
          <a:lstStyle>
            <a:lvl1pPr algn="ctr">
              <a:defRPr sz="7800"/>
            </a:lvl1pPr>
          </a:lstStyle>
          <a:p>
            <a:pPr>
              <a:defRPr/>
            </a:pPr>
            <a:r>
              <a:rPr lang="en-US"/>
              <a:t>Click to edit Master title style</a:t>
            </a:r>
          </a:p>
        </p:txBody>
      </p:sp>
      <p:sp>
        <p:nvSpPr>
          <p:cNvPr id="5" name="Date Placeholder 2"/>
          <p:cNvSpPr>
            <a:spLocks noGrp="1"/>
          </p:cNvSpPr>
          <p:nvPr>
            <p:ph type="dt" sz="half" idx="10"/>
          </p:nvPr>
        </p:nvSpPr>
        <p:spPr bwMode="auto"/>
        <p:txBody>
          <a:bodyPr/>
          <a:lstStyle/>
          <a:p>
            <a:pPr>
              <a:defRPr/>
            </a:pPr>
            <a:fld id="{72345051-2045-45DA-935E-2E3CA1A69ADC}" type="datetimeFigureOut">
              <a:rPr lang="en-US"/>
              <a:t>04.05.22</a:t>
            </a:fld>
            <a:endParaRPr lang="en-US"/>
          </a:p>
        </p:txBody>
      </p:sp>
      <p:sp>
        <p:nvSpPr>
          <p:cNvPr id="6" name="Footer Placeholder 3"/>
          <p:cNvSpPr>
            <a:spLocks noGrp="1"/>
          </p:cNvSpPr>
          <p:nvPr>
            <p:ph type="ftr" sz="quarter" idx="11"/>
          </p:nvPr>
        </p:nvSpPr>
        <p:spPr bwMode="auto"/>
        <p:txBody>
          <a:bodyPr/>
          <a:lstStyle/>
          <a:p>
            <a:pPr>
              <a:defRPr/>
            </a:pPr>
            <a:endParaRPr lang="en-US"/>
          </a:p>
        </p:txBody>
      </p:sp>
      <p:sp>
        <p:nvSpPr>
          <p:cNvPr id="7" name="Slide Number Placeholder 4"/>
          <p:cNvSpPr>
            <a:spLocks noGrp="1"/>
          </p:cNvSpPr>
          <p:nvPr>
            <p:ph type="sldNum" sz="quarter" idx="12"/>
          </p:nvPr>
        </p:nvSpPr>
        <p:spPr bwMode="auto"/>
        <p:txBody>
          <a:bodyPr/>
          <a:lstStyle/>
          <a:p>
            <a:pPr>
              <a:defRPr/>
            </a:pPr>
            <a:fld id="{A7CD31F4-64FA-4BA0-9498-67783267A8C8}" type="slidenum">
              <a:rPr lang="en-US"/>
              <a:t>‹Nr.›</a:t>
            </a:fld>
            <a:endParaRPr lang="en-US"/>
          </a:p>
        </p:txBody>
      </p:sp>
      <p:sp>
        <p:nvSpPr>
          <p:cNvPr id="8" name="Rectangle 6" descr="Tag=AccentColor&#10;Flavor=Light&#10;Target=FillAndLine"/>
          <p:cNvSpPr/>
          <p:nvPr/>
        </p:nvSpPr>
        <p:spPr bwMode="auto">
          <a:xfrm>
            <a:off x="3974206" y="5126892"/>
            <a:ext cx="4243589" cy="27432"/>
          </a:xfrm>
          <a:custGeom>
            <a:avLst/>
            <a:gdLst>
              <a:gd name="connsiteX0" fmla="*/ 0 w 4243589"/>
              <a:gd name="connsiteY0" fmla="*/ 0 h 27432"/>
              <a:gd name="connsiteX1" fmla="*/ 563791 w 4243589"/>
              <a:gd name="connsiteY1" fmla="*/ 0 h 27432"/>
              <a:gd name="connsiteX2" fmla="*/ 1042710 w 4243589"/>
              <a:gd name="connsiteY2" fmla="*/ 0 h 27432"/>
              <a:gd name="connsiteX3" fmla="*/ 1564066 w 4243589"/>
              <a:gd name="connsiteY3" fmla="*/ 0 h 27432"/>
              <a:gd name="connsiteX4" fmla="*/ 2212729 w 4243589"/>
              <a:gd name="connsiteY4" fmla="*/ 0 h 27432"/>
              <a:gd name="connsiteX5" fmla="*/ 2776520 w 4243589"/>
              <a:gd name="connsiteY5" fmla="*/ 0 h 27432"/>
              <a:gd name="connsiteX6" fmla="*/ 3297875 w 4243589"/>
              <a:gd name="connsiteY6" fmla="*/ 0 h 27432"/>
              <a:gd name="connsiteX7" fmla="*/ 4243589 w 4243589"/>
              <a:gd name="connsiteY7" fmla="*/ 0 h 27432"/>
              <a:gd name="connsiteX8" fmla="*/ 4243589 w 4243589"/>
              <a:gd name="connsiteY8" fmla="*/ 27432 h 27432"/>
              <a:gd name="connsiteX9" fmla="*/ 3637362 w 4243589"/>
              <a:gd name="connsiteY9" fmla="*/ 27432 h 27432"/>
              <a:gd name="connsiteX10" fmla="*/ 3116007 w 4243589"/>
              <a:gd name="connsiteY10" fmla="*/ 27432 h 27432"/>
              <a:gd name="connsiteX11" fmla="*/ 2424908 w 4243589"/>
              <a:gd name="connsiteY11" fmla="*/ 27432 h 27432"/>
              <a:gd name="connsiteX12" fmla="*/ 1861117 w 4243589"/>
              <a:gd name="connsiteY12" fmla="*/ 27432 h 27432"/>
              <a:gd name="connsiteX13" fmla="*/ 1382198 w 4243589"/>
              <a:gd name="connsiteY13" fmla="*/ 27432 h 27432"/>
              <a:gd name="connsiteX14" fmla="*/ 733535 w 4243589"/>
              <a:gd name="connsiteY14" fmla="*/ 27432 h 27432"/>
              <a:gd name="connsiteX15" fmla="*/ 0 w 4243589"/>
              <a:gd name="connsiteY15" fmla="*/ 27432 h 27432"/>
              <a:gd name="connsiteX16" fmla="*/ 0 w 4243589"/>
              <a:gd name="connsiteY16"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43589" h="27432" fill="none" extrusionOk="0">
                <a:moveTo>
                  <a:pt x="0" y="0"/>
                </a:moveTo>
                <a:cubicBezTo>
                  <a:pt x="157351" y="-15653"/>
                  <a:pt x="378877" y="-5828"/>
                  <a:pt x="563791" y="0"/>
                </a:cubicBezTo>
                <a:cubicBezTo>
                  <a:pt x="748705" y="5828"/>
                  <a:pt x="905659" y="-5525"/>
                  <a:pt x="1042710" y="0"/>
                </a:cubicBezTo>
                <a:cubicBezTo>
                  <a:pt x="1179761" y="5525"/>
                  <a:pt x="1356845" y="-21288"/>
                  <a:pt x="1564066" y="0"/>
                </a:cubicBezTo>
                <a:cubicBezTo>
                  <a:pt x="1771287" y="21288"/>
                  <a:pt x="1912099" y="25135"/>
                  <a:pt x="2212729" y="0"/>
                </a:cubicBezTo>
                <a:cubicBezTo>
                  <a:pt x="2513359" y="-25135"/>
                  <a:pt x="2514918" y="-27119"/>
                  <a:pt x="2776520" y="0"/>
                </a:cubicBezTo>
                <a:cubicBezTo>
                  <a:pt x="3038122" y="27119"/>
                  <a:pt x="3178771" y="18116"/>
                  <a:pt x="3297875" y="0"/>
                </a:cubicBezTo>
                <a:cubicBezTo>
                  <a:pt x="3416980" y="-18116"/>
                  <a:pt x="4012240" y="-40869"/>
                  <a:pt x="4243589" y="0"/>
                </a:cubicBezTo>
                <a:cubicBezTo>
                  <a:pt x="4242616" y="8304"/>
                  <a:pt x="4243111" y="21512"/>
                  <a:pt x="4243589" y="27432"/>
                </a:cubicBezTo>
                <a:cubicBezTo>
                  <a:pt x="4112949" y="6289"/>
                  <a:pt x="3928037" y="10975"/>
                  <a:pt x="3637362" y="27432"/>
                </a:cubicBezTo>
                <a:cubicBezTo>
                  <a:pt x="3346687" y="43889"/>
                  <a:pt x="3254446" y="35813"/>
                  <a:pt x="3116007" y="27432"/>
                </a:cubicBezTo>
                <a:cubicBezTo>
                  <a:pt x="2977569" y="19051"/>
                  <a:pt x="2620228" y="38017"/>
                  <a:pt x="2424908" y="27432"/>
                </a:cubicBezTo>
                <a:cubicBezTo>
                  <a:pt x="2229588" y="16847"/>
                  <a:pt x="2088287" y="5290"/>
                  <a:pt x="1861117" y="27432"/>
                </a:cubicBezTo>
                <a:cubicBezTo>
                  <a:pt x="1633947" y="49574"/>
                  <a:pt x="1502447" y="8273"/>
                  <a:pt x="1382198" y="27432"/>
                </a:cubicBezTo>
                <a:cubicBezTo>
                  <a:pt x="1261949" y="46591"/>
                  <a:pt x="1045440" y="37497"/>
                  <a:pt x="733535" y="27432"/>
                </a:cubicBezTo>
                <a:cubicBezTo>
                  <a:pt x="421630" y="17367"/>
                  <a:pt x="341257" y="-9215"/>
                  <a:pt x="0" y="27432"/>
                </a:cubicBezTo>
                <a:cubicBezTo>
                  <a:pt x="-1048" y="14992"/>
                  <a:pt x="-1120" y="7447"/>
                  <a:pt x="0" y="0"/>
                </a:cubicBezTo>
                <a:close/>
              </a:path>
              <a:path w="4243589" h="27432" stroke="0" extrusionOk="0">
                <a:moveTo>
                  <a:pt x="0" y="0"/>
                </a:moveTo>
                <a:cubicBezTo>
                  <a:pt x="128164" y="17204"/>
                  <a:pt x="312653" y="1129"/>
                  <a:pt x="563791" y="0"/>
                </a:cubicBezTo>
                <a:cubicBezTo>
                  <a:pt x="814929" y="-1129"/>
                  <a:pt x="837271" y="8503"/>
                  <a:pt x="1042710" y="0"/>
                </a:cubicBezTo>
                <a:cubicBezTo>
                  <a:pt x="1248149" y="-8503"/>
                  <a:pt x="1588432" y="-28862"/>
                  <a:pt x="1733809" y="0"/>
                </a:cubicBezTo>
                <a:cubicBezTo>
                  <a:pt x="1879186" y="28862"/>
                  <a:pt x="2052815" y="5974"/>
                  <a:pt x="2297600" y="0"/>
                </a:cubicBezTo>
                <a:cubicBezTo>
                  <a:pt x="2542385" y="-5974"/>
                  <a:pt x="2699960" y="-23550"/>
                  <a:pt x="2861391" y="0"/>
                </a:cubicBezTo>
                <a:cubicBezTo>
                  <a:pt x="3022822" y="23550"/>
                  <a:pt x="3390411" y="25272"/>
                  <a:pt x="3552490" y="0"/>
                </a:cubicBezTo>
                <a:cubicBezTo>
                  <a:pt x="3714569" y="-25272"/>
                  <a:pt x="3950585" y="-31327"/>
                  <a:pt x="4243589" y="0"/>
                </a:cubicBezTo>
                <a:cubicBezTo>
                  <a:pt x="4244074" y="9333"/>
                  <a:pt x="4244867" y="19699"/>
                  <a:pt x="4243589" y="27432"/>
                </a:cubicBezTo>
                <a:cubicBezTo>
                  <a:pt x="4130424" y="7904"/>
                  <a:pt x="3932803" y="51393"/>
                  <a:pt x="3722234" y="27432"/>
                </a:cubicBezTo>
                <a:cubicBezTo>
                  <a:pt x="3511665" y="3471"/>
                  <a:pt x="3269903" y="55138"/>
                  <a:pt x="3116007" y="27432"/>
                </a:cubicBezTo>
                <a:cubicBezTo>
                  <a:pt x="2962111" y="-274"/>
                  <a:pt x="2744280" y="32368"/>
                  <a:pt x="2509780" y="27432"/>
                </a:cubicBezTo>
                <a:cubicBezTo>
                  <a:pt x="2275280" y="22496"/>
                  <a:pt x="2066059" y="52808"/>
                  <a:pt x="1945989" y="27432"/>
                </a:cubicBezTo>
                <a:cubicBezTo>
                  <a:pt x="1825919" y="2056"/>
                  <a:pt x="1407329" y="21760"/>
                  <a:pt x="1254890" y="27432"/>
                </a:cubicBezTo>
                <a:cubicBezTo>
                  <a:pt x="1102451" y="33104"/>
                  <a:pt x="837950" y="40817"/>
                  <a:pt x="563791" y="27432"/>
                </a:cubicBezTo>
                <a:cubicBezTo>
                  <a:pt x="289632" y="14047"/>
                  <a:pt x="132768" y="16249"/>
                  <a:pt x="0" y="27432"/>
                </a:cubicBezTo>
                <a:cubicBezTo>
                  <a:pt x="211" y="18145"/>
                  <a:pt x="120" y="6480"/>
                  <a:pt x="0" y="0"/>
                </a:cubicBezTo>
                <a:close/>
              </a:path>
            </a:pathLst>
          </a:custGeom>
          <a:solidFill>
            <a:schemeClr val="tx1"/>
          </a:solidFill>
          <a:ln w="38100"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chemeClr val="tx1"/>
              </a:solidFill>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PhAnim="0" type="blank" preserve="1" userDrawn="1">
  <p:cSld name="Blank">
    <p:spTree>
      <p:nvGrpSpPr>
        <p:cNvPr id="1" name=""/>
        <p:cNvGrpSpPr/>
        <p:nvPr/>
      </p:nvGrpSpPr>
      <p:grpSpPr bwMode="auto">
        <a:xfrm>
          <a:off x="0" y="0"/>
          <a:ext cx="0" cy="0"/>
          <a:chOff x="0" y="0"/>
          <a:chExt cx="0" cy="0"/>
        </a:xfrm>
      </p:grpSpPr>
      <p:sp>
        <p:nvSpPr>
          <p:cNvPr id="4" name="Date Placeholder 1"/>
          <p:cNvSpPr>
            <a:spLocks noGrp="1"/>
          </p:cNvSpPr>
          <p:nvPr>
            <p:ph type="dt" sz="half" idx="10"/>
          </p:nvPr>
        </p:nvSpPr>
        <p:spPr bwMode="auto"/>
        <p:txBody>
          <a:bodyPr/>
          <a:lstStyle/>
          <a:p>
            <a:pPr>
              <a:defRPr/>
            </a:pPr>
            <a:fld id="{72345051-2045-45DA-935E-2E3CA1A69ADC}" type="datetimeFigureOut">
              <a:rPr lang="en-US"/>
              <a:t>04.05.22</a:t>
            </a:fld>
            <a:endParaRPr lang="en-US"/>
          </a:p>
        </p:txBody>
      </p:sp>
      <p:sp>
        <p:nvSpPr>
          <p:cNvPr id="5" name="Footer Placeholder 2"/>
          <p:cNvSpPr>
            <a:spLocks noGrp="1"/>
          </p:cNvSpPr>
          <p:nvPr>
            <p:ph type="ftr" sz="quarter" idx="11"/>
          </p:nvPr>
        </p:nvSpPr>
        <p:spPr bwMode="auto"/>
        <p:txBody>
          <a:bodyPr/>
          <a:lstStyle/>
          <a:p>
            <a:pPr>
              <a:defRPr/>
            </a:pPr>
            <a:endParaRPr lang="en-US"/>
          </a:p>
        </p:txBody>
      </p:sp>
      <p:sp>
        <p:nvSpPr>
          <p:cNvPr id="6" name="Slide Number Placeholder 3"/>
          <p:cNvSpPr>
            <a:spLocks noGrp="1"/>
          </p:cNvSpPr>
          <p:nvPr>
            <p:ph type="sldNum" sz="quarter" idx="12"/>
          </p:nvPr>
        </p:nvSpPr>
        <p:spPr bwMode="auto"/>
        <p:txBody>
          <a:bodyPr/>
          <a:lstStyle/>
          <a:p>
            <a:pPr>
              <a:defRPr/>
            </a:pPr>
            <a:fld id="{A7CD31F4-64FA-4BA0-9498-67783267A8C8}" type="slidenum">
              <a:rPr lang="en-US"/>
              <a:t>‹Nr.›</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PhAnim="0" type="objTx" preserve="1" userDrawn="1">
  <p:cSld name="Content with Caption">
    <p:spTree>
      <p:nvGrpSpPr>
        <p:cNvPr id="1" name=""/>
        <p:cNvGrpSpPr/>
        <p:nvPr/>
      </p:nvGrpSpPr>
      <p:grpSpPr bwMode="auto">
        <a:xfrm>
          <a:off x="0" y="0"/>
          <a:ext cx="0" cy="0"/>
          <a:chOff x="0" y="0"/>
          <a:chExt cx="0" cy="0"/>
        </a:xfrm>
      </p:grpSpPr>
      <p:sp>
        <p:nvSpPr>
          <p:cNvPr id="4" name="Title 1"/>
          <p:cNvSpPr>
            <a:spLocks noGrp="1"/>
          </p:cNvSpPr>
          <p:nvPr>
            <p:ph type="title"/>
          </p:nvPr>
        </p:nvSpPr>
        <p:spPr bwMode="auto">
          <a:xfrm>
            <a:off x="839788" y="457200"/>
            <a:ext cx="3932237" cy="3429000"/>
          </a:xfrm>
        </p:spPr>
        <p:txBody>
          <a:bodyPr anchor="b">
            <a:normAutofit/>
          </a:bodyPr>
          <a:lstStyle>
            <a:lvl1pPr>
              <a:defRPr sz="6000"/>
            </a:lvl1pPr>
          </a:lstStyle>
          <a:p>
            <a:pPr>
              <a:defRPr/>
            </a:pPr>
            <a:r>
              <a:rPr lang="en-US"/>
              <a:t>Click to edit Master title style</a:t>
            </a:r>
          </a:p>
        </p:txBody>
      </p:sp>
      <p:sp>
        <p:nvSpPr>
          <p:cNvPr id="5" name="Content Placeholder 2"/>
          <p:cNvSpPr>
            <a:spLocks noGrp="1"/>
          </p:cNvSpPr>
          <p:nvPr>
            <p:ph idx="1"/>
          </p:nvPr>
        </p:nvSpPr>
        <p:spPr bwMode="auto">
          <a:xfrm>
            <a:off x="5303520" y="548640"/>
            <a:ext cx="6053328" cy="5431536"/>
          </a:xfrm>
        </p:spPr>
        <p:txBody>
          <a:bodyPr anchor="ct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defRPr/>
            </a:pPr>
            <a:r>
              <a:rPr lang="en-US"/>
              <a:t>Click to edit Master text styles</a:t>
            </a:r>
            <a:endParaRPr/>
          </a:p>
          <a:p>
            <a:pPr lvl="1">
              <a:defRPr/>
            </a:pPr>
            <a:r>
              <a:rPr lang="en-US"/>
              <a:t>Second level</a:t>
            </a:r>
            <a:endParaRPr/>
          </a:p>
          <a:p>
            <a:pPr lvl="2">
              <a:defRPr/>
            </a:pPr>
            <a:r>
              <a:rPr lang="en-US"/>
              <a:t>Third level</a:t>
            </a:r>
            <a:endParaRPr/>
          </a:p>
          <a:p>
            <a:pPr lvl="3">
              <a:defRPr/>
            </a:pPr>
            <a:r>
              <a:rPr lang="en-US"/>
              <a:t>Fourth level</a:t>
            </a:r>
            <a:endParaRPr/>
          </a:p>
          <a:p>
            <a:pPr lvl="4">
              <a:defRPr/>
            </a:pPr>
            <a:r>
              <a:rPr lang="en-US"/>
              <a:t>Fifth level</a:t>
            </a:r>
          </a:p>
        </p:txBody>
      </p:sp>
      <p:sp>
        <p:nvSpPr>
          <p:cNvPr id="6" name="Text Placeholder 3"/>
          <p:cNvSpPr>
            <a:spLocks noGrp="1"/>
          </p:cNvSpPr>
          <p:nvPr>
            <p:ph type="body" sz="half" idx="2"/>
          </p:nvPr>
        </p:nvSpPr>
        <p:spPr bwMode="auto">
          <a:xfrm>
            <a:off x="839788" y="3977640"/>
            <a:ext cx="3932237" cy="2002536"/>
          </a:xfrm>
        </p:spPr>
        <p:txBody>
          <a:bodyPr>
            <a:normAutofit/>
          </a:bodyPr>
          <a:lstStyle>
            <a:lvl1pPr marL="0" indent="0">
              <a:buNone/>
              <a:defRPr sz="3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defRPr/>
            </a:pPr>
            <a:r>
              <a:rPr lang="en-US"/>
              <a:t>Click to edit Master text styles</a:t>
            </a:r>
            <a:endParaRPr/>
          </a:p>
        </p:txBody>
      </p:sp>
      <p:sp>
        <p:nvSpPr>
          <p:cNvPr id="7" name="Date Placeholder 4"/>
          <p:cNvSpPr>
            <a:spLocks noGrp="1"/>
          </p:cNvSpPr>
          <p:nvPr>
            <p:ph type="dt" sz="half" idx="10"/>
          </p:nvPr>
        </p:nvSpPr>
        <p:spPr bwMode="auto"/>
        <p:txBody>
          <a:bodyPr/>
          <a:lstStyle/>
          <a:p>
            <a:pPr>
              <a:defRPr/>
            </a:pPr>
            <a:fld id="{72345051-2045-45DA-935E-2E3CA1A69ADC}" type="datetimeFigureOut">
              <a:rPr lang="en-US"/>
              <a:t>04.05.22</a:t>
            </a:fld>
            <a:endParaRPr lang="en-US"/>
          </a:p>
        </p:txBody>
      </p:sp>
      <p:sp>
        <p:nvSpPr>
          <p:cNvPr id="8" name="Footer Placeholder 5"/>
          <p:cNvSpPr>
            <a:spLocks noGrp="1"/>
          </p:cNvSpPr>
          <p:nvPr>
            <p:ph type="ftr" sz="quarter" idx="11"/>
          </p:nvPr>
        </p:nvSpPr>
        <p:spPr bwMode="auto"/>
        <p:txBody>
          <a:bodyPr/>
          <a:lstStyle/>
          <a:p>
            <a:pPr>
              <a:defRPr/>
            </a:pPr>
            <a:endParaRPr lang="en-US"/>
          </a:p>
        </p:txBody>
      </p:sp>
      <p:sp>
        <p:nvSpPr>
          <p:cNvPr id="9" name="Slide Number Placeholder 6"/>
          <p:cNvSpPr>
            <a:spLocks noGrp="1"/>
          </p:cNvSpPr>
          <p:nvPr>
            <p:ph type="sldNum" sz="quarter" idx="12"/>
          </p:nvPr>
        </p:nvSpPr>
        <p:spPr bwMode="auto"/>
        <p:txBody>
          <a:bodyPr/>
          <a:lstStyle/>
          <a:p>
            <a:pPr>
              <a:defRPr/>
            </a:pPr>
            <a:fld id="{A7CD31F4-64FA-4BA0-9498-67783267A8C8}" type="slidenum">
              <a:rPr lang="en-US"/>
              <a:t>‹Nr.›</a:t>
            </a:fld>
            <a:endParaRPr lang="en-US"/>
          </a:p>
        </p:txBody>
      </p:sp>
      <p:sp>
        <p:nvSpPr>
          <p:cNvPr id="10" name="Rectangle 6" descr="Tag=AccentColor&#10;Flavor=Light&#10;Target=FillAndLine"/>
          <p:cNvSpPr/>
          <p:nvPr/>
        </p:nvSpPr>
        <p:spPr bwMode="auto">
          <a:xfrm rot="5400000">
            <a:off x="2797492" y="3254143"/>
            <a:ext cx="4480560" cy="27432"/>
          </a:xfrm>
          <a:custGeom>
            <a:avLst/>
            <a:gdLst>
              <a:gd name="connsiteX0" fmla="*/ 0 w 4480560"/>
              <a:gd name="connsiteY0" fmla="*/ 0 h 27432"/>
              <a:gd name="connsiteX1" fmla="*/ 595274 w 4480560"/>
              <a:gd name="connsiteY1" fmla="*/ 0 h 27432"/>
              <a:gd name="connsiteX2" fmla="*/ 1100938 w 4480560"/>
              <a:gd name="connsiteY2" fmla="*/ 0 h 27432"/>
              <a:gd name="connsiteX3" fmla="*/ 1651406 w 4480560"/>
              <a:gd name="connsiteY3" fmla="*/ 0 h 27432"/>
              <a:gd name="connsiteX4" fmla="*/ 2336292 w 4480560"/>
              <a:gd name="connsiteY4" fmla="*/ 0 h 27432"/>
              <a:gd name="connsiteX5" fmla="*/ 2931566 w 4480560"/>
              <a:gd name="connsiteY5" fmla="*/ 0 h 27432"/>
              <a:gd name="connsiteX6" fmla="*/ 3482035 w 4480560"/>
              <a:gd name="connsiteY6" fmla="*/ 0 h 27432"/>
              <a:gd name="connsiteX7" fmla="*/ 4480560 w 4480560"/>
              <a:gd name="connsiteY7" fmla="*/ 0 h 27432"/>
              <a:gd name="connsiteX8" fmla="*/ 4480560 w 4480560"/>
              <a:gd name="connsiteY8" fmla="*/ 27432 h 27432"/>
              <a:gd name="connsiteX9" fmla="*/ 3840480 w 4480560"/>
              <a:gd name="connsiteY9" fmla="*/ 27432 h 27432"/>
              <a:gd name="connsiteX10" fmla="*/ 3290011 w 4480560"/>
              <a:gd name="connsiteY10" fmla="*/ 27432 h 27432"/>
              <a:gd name="connsiteX11" fmla="*/ 2560320 w 4480560"/>
              <a:gd name="connsiteY11" fmla="*/ 27432 h 27432"/>
              <a:gd name="connsiteX12" fmla="*/ 1965046 w 4480560"/>
              <a:gd name="connsiteY12" fmla="*/ 27432 h 27432"/>
              <a:gd name="connsiteX13" fmla="*/ 1459382 w 4480560"/>
              <a:gd name="connsiteY13" fmla="*/ 27432 h 27432"/>
              <a:gd name="connsiteX14" fmla="*/ 774497 w 4480560"/>
              <a:gd name="connsiteY14" fmla="*/ 27432 h 27432"/>
              <a:gd name="connsiteX15" fmla="*/ 0 w 4480560"/>
              <a:gd name="connsiteY15" fmla="*/ 27432 h 27432"/>
              <a:gd name="connsiteX16" fmla="*/ 0 w 4480560"/>
              <a:gd name="connsiteY16"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80560" h="27432" fill="none" extrusionOk="0">
                <a:moveTo>
                  <a:pt x="0" y="0"/>
                </a:moveTo>
                <a:cubicBezTo>
                  <a:pt x="267821" y="8731"/>
                  <a:pt x="334105" y="2629"/>
                  <a:pt x="595274" y="0"/>
                </a:cubicBezTo>
                <a:cubicBezTo>
                  <a:pt x="856443" y="-2629"/>
                  <a:pt x="863808" y="-13353"/>
                  <a:pt x="1100938" y="0"/>
                </a:cubicBezTo>
                <a:cubicBezTo>
                  <a:pt x="1338068" y="13353"/>
                  <a:pt x="1431663" y="-25862"/>
                  <a:pt x="1651406" y="0"/>
                </a:cubicBezTo>
                <a:cubicBezTo>
                  <a:pt x="1871149" y="25862"/>
                  <a:pt x="2173163" y="23827"/>
                  <a:pt x="2336292" y="0"/>
                </a:cubicBezTo>
                <a:cubicBezTo>
                  <a:pt x="2499421" y="-23827"/>
                  <a:pt x="2720589" y="28148"/>
                  <a:pt x="2931566" y="0"/>
                </a:cubicBezTo>
                <a:cubicBezTo>
                  <a:pt x="3142543" y="-28148"/>
                  <a:pt x="3323630" y="27022"/>
                  <a:pt x="3482035" y="0"/>
                </a:cubicBezTo>
                <a:cubicBezTo>
                  <a:pt x="3640440" y="-27022"/>
                  <a:pt x="4012110" y="-20118"/>
                  <a:pt x="4480560" y="0"/>
                </a:cubicBezTo>
                <a:cubicBezTo>
                  <a:pt x="4479587" y="8304"/>
                  <a:pt x="4480082" y="21512"/>
                  <a:pt x="4480560" y="27432"/>
                </a:cubicBezTo>
                <a:cubicBezTo>
                  <a:pt x="4314132" y="24068"/>
                  <a:pt x="4028383" y="45776"/>
                  <a:pt x="3840480" y="27432"/>
                </a:cubicBezTo>
                <a:cubicBezTo>
                  <a:pt x="3652577" y="9088"/>
                  <a:pt x="3547615" y="11992"/>
                  <a:pt x="3290011" y="27432"/>
                </a:cubicBezTo>
                <a:cubicBezTo>
                  <a:pt x="3032407" y="42872"/>
                  <a:pt x="2830268" y="17863"/>
                  <a:pt x="2560320" y="27432"/>
                </a:cubicBezTo>
                <a:cubicBezTo>
                  <a:pt x="2290372" y="37001"/>
                  <a:pt x="2147422" y="15872"/>
                  <a:pt x="1965046" y="27432"/>
                </a:cubicBezTo>
                <a:cubicBezTo>
                  <a:pt x="1782670" y="38992"/>
                  <a:pt x="1689791" y="49824"/>
                  <a:pt x="1459382" y="27432"/>
                </a:cubicBezTo>
                <a:cubicBezTo>
                  <a:pt x="1228973" y="5040"/>
                  <a:pt x="915486" y="45645"/>
                  <a:pt x="774497" y="27432"/>
                </a:cubicBezTo>
                <a:cubicBezTo>
                  <a:pt x="633508" y="9219"/>
                  <a:pt x="361442" y="-1963"/>
                  <a:pt x="0" y="27432"/>
                </a:cubicBezTo>
                <a:cubicBezTo>
                  <a:pt x="-1048" y="14992"/>
                  <a:pt x="-1120" y="7447"/>
                  <a:pt x="0" y="0"/>
                </a:cubicBezTo>
                <a:close/>
              </a:path>
              <a:path w="4480560" h="27432" stroke="0" extrusionOk="0">
                <a:moveTo>
                  <a:pt x="0" y="0"/>
                </a:moveTo>
                <a:cubicBezTo>
                  <a:pt x="285465" y="225"/>
                  <a:pt x="322691" y="16223"/>
                  <a:pt x="595274" y="0"/>
                </a:cubicBezTo>
                <a:cubicBezTo>
                  <a:pt x="867857" y="-16223"/>
                  <a:pt x="989129" y="-11242"/>
                  <a:pt x="1100938" y="0"/>
                </a:cubicBezTo>
                <a:cubicBezTo>
                  <a:pt x="1212747" y="11242"/>
                  <a:pt x="1574350" y="-36410"/>
                  <a:pt x="1830629" y="0"/>
                </a:cubicBezTo>
                <a:cubicBezTo>
                  <a:pt x="2086908" y="36410"/>
                  <a:pt x="2180922" y="4645"/>
                  <a:pt x="2425903" y="0"/>
                </a:cubicBezTo>
                <a:cubicBezTo>
                  <a:pt x="2670884" y="-4645"/>
                  <a:pt x="2782024" y="22929"/>
                  <a:pt x="3021178" y="0"/>
                </a:cubicBezTo>
                <a:cubicBezTo>
                  <a:pt x="3260332" y="-22929"/>
                  <a:pt x="3456982" y="-1586"/>
                  <a:pt x="3750869" y="0"/>
                </a:cubicBezTo>
                <a:cubicBezTo>
                  <a:pt x="4044756" y="1586"/>
                  <a:pt x="4302726" y="17043"/>
                  <a:pt x="4480560" y="0"/>
                </a:cubicBezTo>
                <a:cubicBezTo>
                  <a:pt x="4481045" y="9333"/>
                  <a:pt x="4481838" y="19699"/>
                  <a:pt x="4480560" y="27432"/>
                </a:cubicBezTo>
                <a:cubicBezTo>
                  <a:pt x="4279652" y="2294"/>
                  <a:pt x="4200762" y="50710"/>
                  <a:pt x="3930091" y="27432"/>
                </a:cubicBezTo>
                <a:cubicBezTo>
                  <a:pt x="3659420" y="4154"/>
                  <a:pt x="3456052" y="31438"/>
                  <a:pt x="3290011" y="27432"/>
                </a:cubicBezTo>
                <a:cubicBezTo>
                  <a:pt x="3123970" y="23426"/>
                  <a:pt x="2882392" y="41962"/>
                  <a:pt x="2649931" y="27432"/>
                </a:cubicBezTo>
                <a:cubicBezTo>
                  <a:pt x="2417470" y="12902"/>
                  <a:pt x="2238426" y="16481"/>
                  <a:pt x="2054657" y="27432"/>
                </a:cubicBezTo>
                <a:cubicBezTo>
                  <a:pt x="1870888" y="38383"/>
                  <a:pt x="1566368" y="54184"/>
                  <a:pt x="1324966" y="27432"/>
                </a:cubicBezTo>
                <a:cubicBezTo>
                  <a:pt x="1083564" y="680"/>
                  <a:pt x="787410" y="20090"/>
                  <a:pt x="595274" y="27432"/>
                </a:cubicBezTo>
                <a:cubicBezTo>
                  <a:pt x="403138" y="34774"/>
                  <a:pt x="169622" y="19643"/>
                  <a:pt x="0" y="27432"/>
                </a:cubicBezTo>
                <a:cubicBezTo>
                  <a:pt x="211" y="18145"/>
                  <a:pt x="120" y="6480"/>
                  <a:pt x="0" y="0"/>
                </a:cubicBezTo>
                <a:close/>
              </a:path>
            </a:pathLst>
          </a:custGeom>
          <a:solidFill>
            <a:schemeClr val="tx1"/>
          </a:solidFill>
          <a:ln w="44450"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PhAnim="0" type="picTx" preserve="1" userDrawn="1">
  <p:cSld name="Picture with Caption">
    <p:spTree>
      <p:nvGrpSpPr>
        <p:cNvPr id="1" name=""/>
        <p:cNvGrpSpPr/>
        <p:nvPr/>
      </p:nvGrpSpPr>
      <p:grpSpPr bwMode="auto">
        <a:xfrm>
          <a:off x="0" y="0"/>
          <a:ext cx="0" cy="0"/>
          <a:chOff x="0" y="0"/>
          <a:chExt cx="0" cy="0"/>
        </a:xfrm>
      </p:grpSpPr>
      <p:sp>
        <p:nvSpPr>
          <p:cNvPr id="4" name="Title 1"/>
          <p:cNvSpPr>
            <a:spLocks noGrp="1"/>
          </p:cNvSpPr>
          <p:nvPr>
            <p:ph type="title"/>
          </p:nvPr>
        </p:nvSpPr>
        <p:spPr bwMode="auto">
          <a:xfrm>
            <a:off x="839788" y="457200"/>
            <a:ext cx="3931920" cy="3429000"/>
          </a:xfrm>
        </p:spPr>
        <p:txBody>
          <a:bodyPr anchor="b">
            <a:normAutofit/>
          </a:bodyPr>
          <a:lstStyle>
            <a:lvl1pPr>
              <a:defRPr sz="6000"/>
            </a:lvl1pPr>
          </a:lstStyle>
          <a:p>
            <a:pPr>
              <a:defRPr/>
            </a:pPr>
            <a:r>
              <a:rPr lang="en-US"/>
              <a:t>Click to edit Master title style</a:t>
            </a:r>
          </a:p>
        </p:txBody>
      </p:sp>
      <p:sp>
        <p:nvSpPr>
          <p:cNvPr id="5" name="Picture Placeholder 2"/>
          <p:cNvSpPr>
            <a:spLocks noGrp="1"/>
          </p:cNvSpPr>
          <p:nvPr>
            <p:ph type="pic" idx="1"/>
          </p:nvPr>
        </p:nvSpPr>
        <p:spPr bwMode="auto">
          <a:xfrm>
            <a:off x="5303520" y="548640"/>
            <a:ext cx="6053328" cy="543153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a:defRPr/>
            </a:pPr>
            <a:r>
              <a:rPr lang="en-US"/>
              <a:t>Click icon to add picture</a:t>
            </a:r>
            <a:endParaRPr/>
          </a:p>
        </p:txBody>
      </p:sp>
      <p:sp>
        <p:nvSpPr>
          <p:cNvPr id="6" name="Text Placeholder 3"/>
          <p:cNvSpPr>
            <a:spLocks noGrp="1"/>
          </p:cNvSpPr>
          <p:nvPr>
            <p:ph type="body" sz="half" idx="2"/>
          </p:nvPr>
        </p:nvSpPr>
        <p:spPr bwMode="auto">
          <a:xfrm>
            <a:off x="839788" y="3977640"/>
            <a:ext cx="3931920" cy="2002536"/>
          </a:xfrm>
        </p:spPr>
        <p:txBody>
          <a:bodyPr>
            <a:normAutofit/>
          </a:bodyPr>
          <a:lstStyle>
            <a:lvl1pPr marL="0" indent="0">
              <a:buNone/>
              <a:defRPr sz="3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defRPr/>
            </a:pPr>
            <a:r>
              <a:rPr lang="en-US"/>
              <a:t>Click to edit Master text styles</a:t>
            </a:r>
            <a:endParaRPr/>
          </a:p>
        </p:txBody>
      </p:sp>
      <p:sp>
        <p:nvSpPr>
          <p:cNvPr id="7" name="Date Placeholder 4"/>
          <p:cNvSpPr>
            <a:spLocks noGrp="1"/>
          </p:cNvSpPr>
          <p:nvPr>
            <p:ph type="dt" sz="half" idx="10"/>
          </p:nvPr>
        </p:nvSpPr>
        <p:spPr bwMode="auto"/>
        <p:txBody>
          <a:bodyPr/>
          <a:lstStyle/>
          <a:p>
            <a:pPr>
              <a:defRPr/>
            </a:pPr>
            <a:fld id="{72345051-2045-45DA-935E-2E3CA1A69ADC}" type="datetimeFigureOut">
              <a:rPr lang="en-US"/>
              <a:t>04.05.22</a:t>
            </a:fld>
            <a:endParaRPr lang="en-US"/>
          </a:p>
        </p:txBody>
      </p:sp>
      <p:sp>
        <p:nvSpPr>
          <p:cNvPr id="8" name="Footer Placeholder 5"/>
          <p:cNvSpPr>
            <a:spLocks noGrp="1"/>
          </p:cNvSpPr>
          <p:nvPr>
            <p:ph type="ftr" sz="quarter" idx="11"/>
          </p:nvPr>
        </p:nvSpPr>
        <p:spPr bwMode="auto"/>
        <p:txBody>
          <a:bodyPr/>
          <a:lstStyle/>
          <a:p>
            <a:pPr>
              <a:defRPr/>
            </a:pPr>
            <a:endParaRPr lang="en-US"/>
          </a:p>
        </p:txBody>
      </p:sp>
      <p:sp>
        <p:nvSpPr>
          <p:cNvPr id="9" name="Slide Number Placeholder 6"/>
          <p:cNvSpPr>
            <a:spLocks noGrp="1"/>
          </p:cNvSpPr>
          <p:nvPr>
            <p:ph type="sldNum" sz="quarter" idx="12"/>
          </p:nvPr>
        </p:nvSpPr>
        <p:spPr bwMode="auto"/>
        <p:txBody>
          <a:bodyPr/>
          <a:lstStyle/>
          <a:p>
            <a:pPr>
              <a:defRPr/>
            </a:pPr>
            <a:fld id="{A7CD31F4-64FA-4BA0-9498-67783267A8C8}" type="slidenum">
              <a:rPr lang="en-US"/>
              <a:t>‹Nr.›</a:t>
            </a:fld>
            <a:endParaRPr lang="en-US"/>
          </a:p>
        </p:txBody>
      </p:sp>
      <p:sp>
        <p:nvSpPr>
          <p:cNvPr id="10" name="Rectangle 6" descr="Tag=AccentColor&#10;Flavor=Light&#10;Target=FillAndLine"/>
          <p:cNvSpPr/>
          <p:nvPr/>
        </p:nvSpPr>
        <p:spPr bwMode="auto">
          <a:xfrm rot="5400000">
            <a:off x="2798064" y="3254143"/>
            <a:ext cx="4480560" cy="27432"/>
          </a:xfrm>
          <a:custGeom>
            <a:avLst/>
            <a:gdLst>
              <a:gd name="connsiteX0" fmla="*/ 0 w 4480560"/>
              <a:gd name="connsiteY0" fmla="*/ 0 h 27432"/>
              <a:gd name="connsiteX1" fmla="*/ 595274 w 4480560"/>
              <a:gd name="connsiteY1" fmla="*/ 0 h 27432"/>
              <a:gd name="connsiteX2" fmla="*/ 1100938 w 4480560"/>
              <a:gd name="connsiteY2" fmla="*/ 0 h 27432"/>
              <a:gd name="connsiteX3" fmla="*/ 1651406 w 4480560"/>
              <a:gd name="connsiteY3" fmla="*/ 0 h 27432"/>
              <a:gd name="connsiteX4" fmla="*/ 2336292 w 4480560"/>
              <a:gd name="connsiteY4" fmla="*/ 0 h 27432"/>
              <a:gd name="connsiteX5" fmla="*/ 2931566 w 4480560"/>
              <a:gd name="connsiteY5" fmla="*/ 0 h 27432"/>
              <a:gd name="connsiteX6" fmla="*/ 3482035 w 4480560"/>
              <a:gd name="connsiteY6" fmla="*/ 0 h 27432"/>
              <a:gd name="connsiteX7" fmla="*/ 4480560 w 4480560"/>
              <a:gd name="connsiteY7" fmla="*/ 0 h 27432"/>
              <a:gd name="connsiteX8" fmla="*/ 4480560 w 4480560"/>
              <a:gd name="connsiteY8" fmla="*/ 27432 h 27432"/>
              <a:gd name="connsiteX9" fmla="*/ 3840480 w 4480560"/>
              <a:gd name="connsiteY9" fmla="*/ 27432 h 27432"/>
              <a:gd name="connsiteX10" fmla="*/ 3290011 w 4480560"/>
              <a:gd name="connsiteY10" fmla="*/ 27432 h 27432"/>
              <a:gd name="connsiteX11" fmla="*/ 2560320 w 4480560"/>
              <a:gd name="connsiteY11" fmla="*/ 27432 h 27432"/>
              <a:gd name="connsiteX12" fmla="*/ 1965046 w 4480560"/>
              <a:gd name="connsiteY12" fmla="*/ 27432 h 27432"/>
              <a:gd name="connsiteX13" fmla="*/ 1459382 w 4480560"/>
              <a:gd name="connsiteY13" fmla="*/ 27432 h 27432"/>
              <a:gd name="connsiteX14" fmla="*/ 774497 w 4480560"/>
              <a:gd name="connsiteY14" fmla="*/ 27432 h 27432"/>
              <a:gd name="connsiteX15" fmla="*/ 0 w 4480560"/>
              <a:gd name="connsiteY15" fmla="*/ 27432 h 27432"/>
              <a:gd name="connsiteX16" fmla="*/ 0 w 4480560"/>
              <a:gd name="connsiteY16"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80560" h="27432" fill="none" extrusionOk="0">
                <a:moveTo>
                  <a:pt x="0" y="0"/>
                </a:moveTo>
                <a:cubicBezTo>
                  <a:pt x="267821" y="8731"/>
                  <a:pt x="334105" y="2629"/>
                  <a:pt x="595274" y="0"/>
                </a:cubicBezTo>
                <a:cubicBezTo>
                  <a:pt x="856443" y="-2629"/>
                  <a:pt x="863808" y="-13353"/>
                  <a:pt x="1100938" y="0"/>
                </a:cubicBezTo>
                <a:cubicBezTo>
                  <a:pt x="1338068" y="13353"/>
                  <a:pt x="1431663" y="-25862"/>
                  <a:pt x="1651406" y="0"/>
                </a:cubicBezTo>
                <a:cubicBezTo>
                  <a:pt x="1871149" y="25862"/>
                  <a:pt x="2173163" y="23827"/>
                  <a:pt x="2336292" y="0"/>
                </a:cubicBezTo>
                <a:cubicBezTo>
                  <a:pt x="2499421" y="-23827"/>
                  <a:pt x="2720589" y="28148"/>
                  <a:pt x="2931566" y="0"/>
                </a:cubicBezTo>
                <a:cubicBezTo>
                  <a:pt x="3142543" y="-28148"/>
                  <a:pt x="3323630" y="27022"/>
                  <a:pt x="3482035" y="0"/>
                </a:cubicBezTo>
                <a:cubicBezTo>
                  <a:pt x="3640440" y="-27022"/>
                  <a:pt x="4012110" y="-20118"/>
                  <a:pt x="4480560" y="0"/>
                </a:cubicBezTo>
                <a:cubicBezTo>
                  <a:pt x="4479587" y="8304"/>
                  <a:pt x="4480082" y="21512"/>
                  <a:pt x="4480560" y="27432"/>
                </a:cubicBezTo>
                <a:cubicBezTo>
                  <a:pt x="4314132" y="24068"/>
                  <a:pt x="4028383" y="45776"/>
                  <a:pt x="3840480" y="27432"/>
                </a:cubicBezTo>
                <a:cubicBezTo>
                  <a:pt x="3652577" y="9088"/>
                  <a:pt x="3547615" y="11992"/>
                  <a:pt x="3290011" y="27432"/>
                </a:cubicBezTo>
                <a:cubicBezTo>
                  <a:pt x="3032407" y="42872"/>
                  <a:pt x="2830268" y="17863"/>
                  <a:pt x="2560320" y="27432"/>
                </a:cubicBezTo>
                <a:cubicBezTo>
                  <a:pt x="2290372" y="37001"/>
                  <a:pt x="2147422" y="15872"/>
                  <a:pt x="1965046" y="27432"/>
                </a:cubicBezTo>
                <a:cubicBezTo>
                  <a:pt x="1782670" y="38992"/>
                  <a:pt x="1689791" y="49824"/>
                  <a:pt x="1459382" y="27432"/>
                </a:cubicBezTo>
                <a:cubicBezTo>
                  <a:pt x="1228973" y="5040"/>
                  <a:pt x="915486" y="45645"/>
                  <a:pt x="774497" y="27432"/>
                </a:cubicBezTo>
                <a:cubicBezTo>
                  <a:pt x="633508" y="9219"/>
                  <a:pt x="361442" y="-1963"/>
                  <a:pt x="0" y="27432"/>
                </a:cubicBezTo>
                <a:cubicBezTo>
                  <a:pt x="-1048" y="14992"/>
                  <a:pt x="-1120" y="7447"/>
                  <a:pt x="0" y="0"/>
                </a:cubicBezTo>
                <a:close/>
              </a:path>
              <a:path w="4480560" h="27432" stroke="0" extrusionOk="0">
                <a:moveTo>
                  <a:pt x="0" y="0"/>
                </a:moveTo>
                <a:cubicBezTo>
                  <a:pt x="285465" y="225"/>
                  <a:pt x="322691" y="16223"/>
                  <a:pt x="595274" y="0"/>
                </a:cubicBezTo>
                <a:cubicBezTo>
                  <a:pt x="867857" y="-16223"/>
                  <a:pt x="989129" y="-11242"/>
                  <a:pt x="1100938" y="0"/>
                </a:cubicBezTo>
                <a:cubicBezTo>
                  <a:pt x="1212747" y="11242"/>
                  <a:pt x="1574350" y="-36410"/>
                  <a:pt x="1830629" y="0"/>
                </a:cubicBezTo>
                <a:cubicBezTo>
                  <a:pt x="2086908" y="36410"/>
                  <a:pt x="2180922" y="4645"/>
                  <a:pt x="2425903" y="0"/>
                </a:cubicBezTo>
                <a:cubicBezTo>
                  <a:pt x="2670884" y="-4645"/>
                  <a:pt x="2782024" y="22929"/>
                  <a:pt x="3021178" y="0"/>
                </a:cubicBezTo>
                <a:cubicBezTo>
                  <a:pt x="3260332" y="-22929"/>
                  <a:pt x="3456982" y="-1586"/>
                  <a:pt x="3750869" y="0"/>
                </a:cubicBezTo>
                <a:cubicBezTo>
                  <a:pt x="4044756" y="1586"/>
                  <a:pt x="4302726" y="17043"/>
                  <a:pt x="4480560" y="0"/>
                </a:cubicBezTo>
                <a:cubicBezTo>
                  <a:pt x="4481045" y="9333"/>
                  <a:pt x="4481838" y="19699"/>
                  <a:pt x="4480560" y="27432"/>
                </a:cubicBezTo>
                <a:cubicBezTo>
                  <a:pt x="4279652" y="2294"/>
                  <a:pt x="4200762" y="50710"/>
                  <a:pt x="3930091" y="27432"/>
                </a:cubicBezTo>
                <a:cubicBezTo>
                  <a:pt x="3659420" y="4154"/>
                  <a:pt x="3456052" y="31438"/>
                  <a:pt x="3290011" y="27432"/>
                </a:cubicBezTo>
                <a:cubicBezTo>
                  <a:pt x="3123970" y="23426"/>
                  <a:pt x="2882392" y="41962"/>
                  <a:pt x="2649931" y="27432"/>
                </a:cubicBezTo>
                <a:cubicBezTo>
                  <a:pt x="2417470" y="12902"/>
                  <a:pt x="2238426" y="16481"/>
                  <a:pt x="2054657" y="27432"/>
                </a:cubicBezTo>
                <a:cubicBezTo>
                  <a:pt x="1870888" y="38383"/>
                  <a:pt x="1566368" y="54184"/>
                  <a:pt x="1324966" y="27432"/>
                </a:cubicBezTo>
                <a:cubicBezTo>
                  <a:pt x="1083564" y="680"/>
                  <a:pt x="787410" y="20090"/>
                  <a:pt x="595274" y="27432"/>
                </a:cubicBezTo>
                <a:cubicBezTo>
                  <a:pt x="403138" y="34774"/>
                  <a:pt x="169622" y="19643"/>
                  <a:pt x="0" y="27432"/>
                </a:cubicBezTo>
                <a:cubicBezTo>
                  <a:pt x="211" y="18145"/>
                  <a:pt x="120" y="6480"/>
                  <a:pt x="0" y="0"/>
                </a:cubicBezTo>
                <a:close/>
              </a:path>
            </a:pathLst>
          </a:custGeom>
          <a:solidFill>
            <a:schemeClr val="tx1"/>
          </a:solidFill>
          <a:ln w="44450"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bwMode="auto">
        <a:xfrm>
          <a:off x="0" y="0"/>
          <a:ext cx="0" cy="0"/>
          <a:chOff x="0" y="0"/>
          <a:chExt cx="0" cy="0"/>
        </a:xfrm>
      </p:grpSpPr>
      <p:sp>
        <p:nvSpPr>
          <p:cNvPr id="4" name="Title Placeholder 1"/>
          <p:cNvSpPr>
            <a:spLocks noGrp="1"/>
          </p:cNvSpPr>
          <p:nvPr>
            <p:ph type="title"/>
          </p:nvPr>
        </p:nvSpPr>
        <p:spPr bwMode="auto">
          <a:xfrm>
            <a:off x="838200" y="365125"/>
            <a:ext cx="10515600" cy="1325563"/>
          </a:xfrm>
          <a:prstGeom prst="rect">
            <a:avLst/>
          </a:prstGeom>
        </p:spPr>
        <p:txBody>
          <a:bodyPr vert="horz" lIns="91440" tIns="45720" rIns="91440" bIns="45720" rtlCol="0" anchor="ctr">
            <a:normAutofit/>
          </a:bodyPr>
          <a:lstStyle/>
          <a:p>
            <a:pPr>
              <a:defRPr/>
            </a:pPr>
            <a:r>
              <a:rPr lang="en-US"/>
              <a:t>Click to edit Master title style</a:t>
            </a:r>
            <a:endParaRPr/>
          </a:p>
        </p:txBody>
      </p:sp>
      <p:sp>
        <p:nvSpPr>
          <p:cNvPr id="5" name="Text Placeholder 2"/>
          <p:cNvSpPr>
            <a:spLocks noGrp="1"/>
          </p:cNvSpPr>
          <p:nvPr>
            <p:ph type="body" idx="1"/>
          </p:nvPr>
        </p:nvSpPr>
        <p:spPr bwMode="auto">
          <a:xfrm>
            <a:off x="838200" y="1825625"/>
            <a:ext cx="10515600" cy="4351338"/>
          </a:xfrm>
          <a:prstGeom prst="rect">
            <a:avLst/>
          </a:prstGeom>
        </p:spPr>
        <p:txBody>
          <a:bodyPr vert="horz" lIns="91440" tIns="45720" rIns="91440" bIns="45720" rtlCol="0">
            <a:normAutofit/>
          </a:bodyPr>
          <a:lstStyle/>
          <a:p>
            <a:pPr lvl="0">
              <a:defRPr/>
            </a:pPr>
            <a:r>
              <a:rPr lang="en-US"/>
              <a:t>Click to edit Master text styles</a:t>
            </a:r>
            <a:endParaRPr/>
          </a:p>
          <a:p>
            <a:pPr lvl="1">
              <a:defRPr/>
            </a:pPr>
            <a:r>
              <a:rPr lang="en-US"/>
              <a:t>Second level</a:t>
            </a:r>
            <a:endParaRPr/>
          </a:p>
          <a:p>
            <a:pPr lvl="2">
              <a:defRPr/>
            </a:pPr>
            <a:r>
              <a:rPr lang="en-US"/>
              <a:t>Third level</a:t>
            </a:r>
            <a:endParaRPr/>
          </a:p>
          <a:p>
            <a:pPr lvl="3">
              <a:defRPr/>
            </a:pPr>
            <a:r>
              <a:rPr lang="en-US"/>
              <a:t>Fourth level</a:t>
            </a:r>
            <a:endParaRPr/>
          </a:p>
          <a:p>
            <a:pPr lvl="4">
              <a:defRPr/>
            </a:pPr>
            <a:r>
              <a:rPr lang="en-US"/>
              <a:t>Fifth level</a:t>
            </a:r>
            <a:endParaRPr/>
          </a:p>
        </p:txBody>
      </p:sp>
      <p:sp>
        <p:nvSpPr>
          <p:cNvPr id="6" name="Date Placeholder 3"/>
          <p:cNvSpPr>
            <a:spLocks noGrp="1"/>
          </p:cNvSpPr>
          <p:nvPr>
            <p:ph type="dt" sz="half" idx="2"/>
          </p:nvPr>
        </p:nvSpPr>
        <p:spPr bwMode="auto">
          <a:xfrm>
            <a:off x="838200" y="6356350"/>
            <a:ext cx="2743200" cy="365125"/>
          </a:xfrm>
          <a:prstGeom prst="rect">
            <a:avLst/>
          </a:prstGeom>
        </p:spPr>
        <p:txBody>
          <a:bodyPr vert="horz" lIns="91440" tIns="45720" rIns="91440" bIns="45720" rtlCol="0" anchor="ctr"/>
          <a:lstStyle>
            <a:lvl1pPr algn="l">
              <a:defRPr sz="1600">
                <a:solidFill>
                  <a:schemeClr val="tx1">
                    <a:tint val="75000"/>
                  </a:schemeClr>
                </a:solidFill>
              </a:defRPr>
            </a:lvl1pPr>
          </a:lstStyle>
          <a:p>
            <a:pPr>
              <a:defRPr/>
            </a:pPr>
            <a:fld id="{72345051-2045-45DA-935E-2E3CA1A69ADC}" type="datetimeFigureOut">
              <a:rPr lang="en-US"/>
              <a:t>04.05.22</a:t>
            </a:fld>
            <a:endParaRPr lang="en-US"/>
          </a:p>
        </p:txBody>
      </p:sp>
      <p:sp>
        <p:nvSpPr>
          <p:cNvPr id="7" name="Footer Placeholder 4"/>
          <p:cNvSpPr>
            <a:spLocks noGrp="1"/>
          </p:cNvSpPr>
          <p:nvPr>
            <p:ph type="ftr" sz="quarter" idx="3"/>
          </p:nvPr>
        </p:nvSpPr>
        <p:spPr bwMode="auto">
          <a:xfrm>
            <a:off x="4038600" y="6356350"/>
            <a:ext cx="4114800" cy="365125"/>
          </a:xfrm>
          <a:prstGeom prst="rect">
            <a:avLst/>
          </a:prstGeom>
        </p:spPr>
        <p:txBody>
          <a:bodyPr vert="horz" lIns="91440" tIns="45720" rIns="91440" bIns="45720" rtlCol="0" anchor="ctr"/>
          <a:lstStyle>
            <a:lvl1pPr algn="ctr">
              <a:defRPr sz="1600">
                <a:solidFill>
                  <a:schemeClr val="tx1">
                    <a:tint val="75000"/>
                  </a:schemeClr>
                </a:solidFill>
              </a:defRPr>
            </a:lvl1pPr>
          </a:lstStyle>
          <a:p>
            <a:pPr>
              <a:defRPr/>
            </a:pPr>
            <a:endParaRPr lang="en-US"/>
          </a:p>
        </p:txBody>
      </p:sp>
      <p:sp>
        <p:nvSpPr>
          <p:cNvPr id="8" name="Slide Number Placeholder 5"/>
          <p:cNvSpPr>
            <a:spLocks noGrp="1"/>
          </p:cNvSpPr>
          <p:nvPr>
            <p:ph type="sldNum" sz="quarter" idx="4"/>
          </p:nvPr>
        </p:nvSpPr>
        <p:spPr bwMode="auto">
          <a:xfrm>
            <a:off x="8610600" y="6356350"/>
            <a:ext cx="2743200" cy="365125"/>
          </a:xfrm>
          <a:prstGeom prst="rect">
            <a:avLst/>
          </a:prstGeom>
        </p:spPr>
        <p:txBody>
          <a:bodyPr vert="horz" lIns="91440" tIns="45720" rIns="91440" bIns="45720" rtlCol="0" anchor="ctr"/>
          <a:lstStyle>
            <a:lvl1pPr algn="r">
              <a:defRPr sz="1600">
                <a:solidFill>
                  <a:schemeClr val="tx1">
                    <a:tint val="75000"/>
                  </a:schemeClr>
                </a:solidFill>
              </a:defRPr>
            </a:lvl1pPr>
          </a:lstStyle>
          <a:p>
            <a:pPr>
              <a:defRPr/>
            </a:pPr>
            <a:fld id="{A7CD31F4-64FA-4BA0-9498-67783267A8C8}" type="slidenum">
              <a:rPr lang="en-US"/>
              <a:t>‹Nr.›</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a:lnSpc>
          <a:spcPct val="100000"/>
        </a:lnSpc>
        <a:spcBef>
          <a:spcPts val="0"/>
        </a:spcBef>
        <a:buNone/>
        <a:defRPr sz="5400">
          <a:solidFill>
            <a:schemeClr val="tx1"/>
          </a:solidFill>
          <a:latin typeface="+mj-lt"/>
          <a:ea typeface="+mj-ea"/>
          <a:cs typeface="+mj-cs"/>
        </a:defRPr>
      </a:lvl1pPr>
    </p:titleStyle>
    <p:bodyStyle>
      <a:lvl1pPr marL="228600" indent="-228600" algn="l" defTabSz="914400">
        <a:lnSpc>
          <a:spcPct val="110000"/>
        </a:lnSpc>
        <a:spcBef>
          <a:spcPts val="1000"/>
        </a:spcBef>
        <a:buFont typeface="Arial"/>
        <a:buChar char="•"/>
        <a:defRPr sz="3200">
          <a:solidFill>
            <a:schemeClr val="tx1"/>
          </a:solidFill>
          <a:latin typeface="+mn-lt"/>
          <a:ea typeface="+mn-ea"/>
          <a:cs typeface="+mn-cs"/>
        </a:defRPr>
      </a:lvl1pPr>
      <a:lvl2pPr marL="685800" indent="-228600" algn="l" defTabSz="914400">
        <a:lnSpc>
          <a:spcPct val="110000"/>
        </a:lnSpc>
        <a:spcBef>
          <a:spcPts val="500"/>
        </a:spcBef>
        <a:buFont typeface="Arial"/>
        <a:buChar char="•"/>
        <a:defRPr sz="2800">
          <a:solidFill>
            <a:schemeClr val="tx1"/>
          </a:solidFill>
          <a:latin typeface="+mn-lt"/>
          <a:ea typeface="+mn-ea"/>
          <a:cs typeface="+mn-cs"/>
        </a:defRPr>
      </a:lvl2pPr>
      <a:lvl3pPr marL="1143000" indent="-228600" algn="l" defTabSz="914400">
        <a:lnSpc>
          <a:spcPct val="110000"/>
        </a:lnSpc>
        <a:spcBef>
          <a:spcPts val="500"/>
        </a:spcBef>
        <a:buFont typeface="Arial"/>
        <a:buChar char="•"/>
        <a:defRPr sz="2400">
          <a:solidFill>
            <a:schemeClr val="tx1"/>
          </a:solidFill>
          <a:latin typeface="+mn-lt"/>
          <a:ea typeface="+mn-ea"/>
          <a:cs typeface="+mn-cs"/>
        </a:defRPr>
      </a:lvl3pPr>
      <a:lvl4pPr marL="1600200" indent="-228600" algn="l" defTabSz="914400">
        <a:lnSpc>
          <a:spcPct val="110000"/>
        </a:lnSpc>
        <a:spcBef>
          <a:spcPts val="500"/>
        </a:spcBef>
        <a:buFont typeface="Arial"/>
        <a:buChar char="•"/>
        <a:defRPr sz="2000">
          <a:solidFill>
            <a:schemeClr val="tx1"/>
          </a:solidFill>
          <a:latin typeface="+mn-lt"/>
          <a:ea typeface="+mn-ea"/>
          <a:cs typeface="+mn-cs"/>
        </a:defRPr>
      </a:lvl4pPr>
      <a:lvl5pPr marL="2057400" indent="-228600" algn="l" defTabSz="914400">
        <a:lnSpc>
          <a:spcPct val="110000"/>
        </a:lnSpc>
        <a:spcBef>
          <a:spcPts val="500"/>
        </a:spcBef>
        <a:buFont typeface="Arial"/>
        <a:buChar char="•"/>
        <a:defRPr sz="2000">
          <a:solidFill>
            <a:schemeClr val="tx1"/>
          </a:solidFill>
          <a:latin typeface="+mn-lt"/>
          <a:ea typeface="+mn-ea"/>
          <a:cs typeface="+mn-cs"/>
        </a:defRPr>
      </a:lvl5pPr>
      <a:lvl6pPr marL="2514600" indent="-228600" algn="l" defTabSz="914400">
        <a:lnSpc>
          <a:spcPct val="90000"/>
        </a:lnSpc>
        <a:spcBef>
          <a:spcPts val="500"/>
        </a:spcBef>
        <a:buFont typeface="Arial"/>
        <a:buChar char="•"/>
        <a:defRPr sz="1800">
          <a:solidFill>
            <a:schemeClr val="tx1"/>
          </a:solidFill>
          <a:latin typeface="+mn-lt"/>
          <a:ea typeface="+mn-ea"/>
          <a:cs typeface="+mn-cs"/>
        </a:defRPr>
      </a:lvl6pPr>
      <a:lvl7pPr marL="2971800" indent="-228600" algn="l" defTabSz="914400">
        <a:lnSpc>
          <a:spcPct val="90000"/>
        </a:lnSpc>
        <a:spcBef>
          <a:spcPts val="500"/>
        </a:spcBef>
        <a:buFont typeface="Arial"/>
        <a:buChar char="•"/>
        <a:defRPr sz="1800">
          <a:solidFill>
            <a:schemeClr val="tx1"/>
          </a:solidFill>
          <a:latin typeface="+mn-lt"/>
          <a:ea typeface="+mn-ea"/>
          <a:cs typeface="+mn-cs"/>
        </a:defRPr>
      </a:lvl7pPr>
      <a:lvl8pPr marL="3429000" indent="-228600" algn="l" defTabSz="914400">
        <a:lnSpc>
          <a:spcPct val="90000"/>
        </a:lnSpc>
        <a:spcBef>
          <a:spcPts val="500"/>
        </a:spcBef>
        <a:buFont typeface="Arial"/>
        <a:buChar char="•"/>
        <a:defRPr sz="1800">
          <a:solidFill>
            <a:schemeClr val="tx1"/>
          </a:solidFill>
          <a:latin typeface="+mn-lt"/>
          <a:ea typeface="+mn-ea"/>
          <a:cs typeface="+mn-cs"/>
        </a:defRPr>
      </a:lvl8pPr>
      <a:lvl9pPr marL="3886200" indent="-228600" algn="l" defTabSz="914400">
        <a:lnSpc>
          <a:spcPct val="90000"/>
        </a:lnSpc>
        <a:spcBef>
          <a:spcPts val="500"/>
        </a:spcBef>
        <a:buFont typeface="Arial"/>
        <a:buChar char="•"/>
        <a:defRPr sz="1800">
          <a:solidFill>
            <a:schemeClr val="tx1"/>
          </a:solidFill>
          <a:latin typeface="+mn-lt"/>
          <a:ea typeface="+mn-ea"/>
          <a:cs typeface="+mn-cs"/>
        </a:defRPr>
      </a:lvl9pPr>
    </p:bodyStyle>
    <p:otherStyle>
      <a:defPPr>
        <a:defRPr lang="en-US"/>
      </a:defPPr>
      <a:lvl1pPr marL="0" algn="l" defTabSz="914400">
        <a:defRPr sz="1800">
          <a:solidFill>
            <a:schemeClr val="tx1"/>
          </a:solidFill>
          <a:latin typeface="+mn-lt"/>
          <a:ea typeface="+mn-ea"/>
          <a:cs typeface="+mn-cs"/>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xml"/><Relationship Id="rId3" Type="http://schemas.openxmlformats.org/officeDocument/2006/relationships/image" Target="../media/image2.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png"/><Relationship Id="rId3" Type="http://schemas.openxmlformats.org/officeDocument/2006/relationships/image" Target="../media/image5.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8.png"/><Relationship Id="rId5" Type="http://schemas.openxmlformats.org/officeDocument/2006/relationships/image" Target="../media/image9.png"/><Relationship Id="rId1" Type="http://schemas.openxmlformats.org/officeDocument/2006/relationships/slideLayout" Target="../slideLayouts/slideLayout6.xml"/><Relationship Id="rId2"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xml"/><Relationship Id="rId3" Type="http://schemas.openxmlformats.org/officeDocument/2006/relationships/image" Target="../media/image10.tiff"/></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6.xml"/></Relationships>
</file>

<file path=ppt/slides/slide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useBgFill="1">
        <p:nvSpPr>
          <p:cNvPr id="4" name="Rectangle 65"/>
          <p:cNvSpPr>
            <a:spLocks noGrp="1" noRot="1" noChangeAspect="1" noMove="1" noResize="1" noEditPoints="1" noAdjustHandles="1" noChangeArrowheads="1" noChangeShapeType="1" noTextEdit="1"/>
          </p:cNvSpPr>
          <p:nvPr/>
        </p:nvSpPr>
        <p:spPr bwMode="auto">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p>
        </p:txBody>
      </p:sp>
      <p:sp>
        <p:nvSpPr>
          <p:cNvPr id="5" name="Titel 1"/>
          <p:cNvSpPr>
            <a:spLocks noGrp="1"/>
          </p:cNvSpPr>
          <p:nvPr>
            <p:ph type="ctrTitle"/>
          </p:nvPr>
        </p:nvSpPr>
        <p:spPr bwMode="auto">
          <a:xfrm>
            <a:off x="695400" y="1768188"/>
            <a:ext cx="10909640" cy="1679107"/>
          </a:xfrm>
        </p:spPr>
        <p:txBody>
          <a:bodyPr anchor="b">
            <a:normAutofit/>
          </a:bodyPr>
          <a:lstStyle/>
          <a:p>
            <a:pPr algn="ctr">
              <a:lnSpc>
                <a:spcPct val="90000"/>
              </a:lnSpc>
              <a:defRPr/>
            </a:pPr>
            <a:r>
              <a:rPr lang="en-US" sz="6000" b="1" dirty="0">
                <a:latin typeface="Abadi MT Condensed Light"/>
              </a:rPr>
              <a:t> </a:t>
            </a:r>
            <a:endParaRPr sz="6000" b="1" dirty="0"/>
          </a:p>
        </p:txBody>
      </p:sp>
      <p:sp>
        <p:nvSpPr>
          <p:cNvPr id="6" name="Untertitel 2"/>
          <p:cNvSpPr>
            <a:spLocks noGrp="1"/>
          </p:cNvSpPr>
          <p:nvPr>
            <p:ph type="subTitle" idx="1"/>
          </p:nvPr>
        </p:nvSpPr>
        <p:spPr bwMode="auto">
          <a:xfrm>
            <a:off x="729553" y="3826110"/>
            <a:ext cx="10909643" cy="552659"/>
          </a:xfrm>
        </p:spPr>
        <p:txBody>
          <a:bodyPr anchor="t">
            <a:noAutofit/>
          </a:bodyPr>
          <a:lstStyle/>
          <a:p>
            <a:pPr algn="ctr">
              <a:lnSpc>
                <a:spcPct val="100000"/>
              </a:lnSpc>
              <a:spcBef>
                <a:spcPts val="0"/>
              </a:spcBef>
              <a:defRPr/>
            </a:pPr>
            <a:r>
              <a:rPr lang="en-US" sz="3600" dirty="0">
                <a:latin typeface="Abadi MT Condensed Light"/>
              </a:rPr>
              <a:t> </a:t>
            </a:r>
          </a:p>
          <a:p>
            <a:pPr algn="ctr">
              <a:lnSpc>
                <a:spcPct val="100000"/>
              </a:lnSpc>
              <a:spcBef>
                <a:spcPts val="0"/>
              </a:spcBef>
              <a:defRPr/>
            </a:pPr>
            <a:r>
              <a:rPr lang="en-US" sz="3600" b="1" dirty="0">
                <a:latin typeface="Abadi MT Condensed Light"/>
              </a:rPr>
              <a:t> </a:t>
            </a:r>
          </a:p>
          <a:p>
            <a:pPr algn="ctr">
              <a:defRPr/>
            </a:pPr>
            <a:endParaRPr dirty="0"/>
          </a:p>
        </p:txBody>
      </p:sp>
      <p:sp>
        <p:nvSpPr>
          <p:cNvPr id="9" name="Date Placeholder 26"/>
          <p:cNvSpPr>
            <a:spLocks noAdjustHandles="1"/>
          </p:cNvSpPr>
          <p:nvPr/>
        </p:nvSpPr>
        <p:spPr bwMode="auto">
          <a:xfrm>
            <a:off x="838200" y="6356350"/>
            <a:ext cx="2743200" cy="365125"/>
          </a:xfrm>
          <a:prstGeom prst="rect">
            <a:avLst/>
          </a:prstGeom>
        </p:spPr>
        <p:txBody>
          <a:bodyPr vert="horz" lIns="91440" tIns="45720" rIns="91440" bIns="45720" rtlCol="0" anchor="ctr"/>
          <a:lstStyle>
            <a:defPPr>
              <a:defRPr lang="en-US"/>
            </a:defPPr>
            <a:lvl1pPr marL="0" algn="l" defTabSz="914400">
              <a:defRPr sz="1600">
                <a:solidFill>
                  <a:schemeClr val="tx1">
                    <a:tint val="75000"/>
                  </a:schemeClr>
                </a:solidFill>
                <a:latin typeface="+mn-lt"/>
                <a:ea typeface="+mn-ea"/>
                <a:cs typeface="+mn-cs"/>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a:lstStyle>
          <a:p>
            <a:pPr>
              <a:defRPr/>
            </a:pPr>
            <a:endParaRPr lang="en-US">
              <a:solidFill>
                <a:schemeClr val="tx1"/>
              </a:solidFill>
            </a:endParaRPr>
          </a:p>
        </p:txBody>
      </p:sp>
      <p:sp>
        <p:nvSpPr>
          <p:cNvPr id="10" name="Footer Placeholder 27"/>
          <p:cNvSpPr>
            <a:spLocks noAdjustHandles="1"/>
          </p:cNvSpPr>
          <p:nvPr/>
        </p:nvSpPr>
        <p:spPr bwMode="auto">
          <a:xfrm>
            <a:off x="4038600" y="6356350"/>
            <a:ext cx="4114800" cy="365125"/>
          </a:xfrm>
          <a:prstGeom prst="rect">
            <a:avLst/>
          </a:prstGeom>
        </p:spPr>
        <p:txBody>
          <a:bodyPr vert="horz" lIns="91440" tIns="45720" rIns="91440" bIns="45720" rtlCol="0" anchor="ctr"/>
          <a:lstStyle>
            <a:defPPr>
              <a:defRPr lang="en-US"/>
            </a:defPPr>
            <a:lvl1pPr marL="0" algn="ctr" defTabSz="914400">
              <a:defRPr sz="1600">
                <a:solidFill>
                  <a:schemeClr val="tx1">
                    <a:tint val="75000"/>
                  </a:schemeClr>
                </a:solidFill>
                <a:latin typeface="+mn-lt"/>
                <a:ea typeface="+mn-ea"/>
                <a:cs typeface="+mn-cs"/>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a:lstStyle>
          <a:p>
            <a:pPr>
              <a:defRPr/>
            </a:pPr>
            <a:endParaRPr lang="en-US">
              <a:solidFill>
                <a:schemeClr val="tx1"/>
              </a:solidFill>
            </a:endParaRPr>
          </a:p>
        </p:txBody>
      </p:sp>
      <p:sp>
        <p:nvSpPr>
          <p:cNvPr id="11" name="Slide Number Placeholder 28"/>
          <p:cNvSpPr>
            <a:spLocks noAdjustHandles="1"/>
          </p:cNvSpPr>
          <p:nvPr/>
        </p:nvSpPr>
        <p:spPr bwMode="auto">
          <a:xfrm>
            <a:off x="8610600" y="6356350"/>
            <a:ext cx="2743200" cy="365125"/>
          </a:xfrm>
          <a:prstGeom prst="rect">
            <a:avLst/>
          </a:prstGeom>
        </p:spPr>
        <p:txBody>
          <a:bodyPr vert="horz" lIns="91440" tIns="45720" rIns="91440" bIns="45720" rtlCol="0" anchor="ctr"/>
          <a:lstStyle>
            <a:defPPr>
              <a:defRPr lang="en-US"/>
            </a:defPPr>
            <a:lvl1pPr marL="0" algn="r" defTabSz="914400">
              <a:defRPr sz="1600">
                <a:solidFill>
                  <a:schemeClr val="tx1">
                    <a:tint val="75000"/>
                  </a:schemeClr>
                </a:solidFill>
                <a:latin typeface="+mn-lt"/>
                <a:ea typeface="+mn-ea"/>
                <a:cs typeface="+mn-cs"/>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a:lstStyle>
          <a:p>
            <a:pPr>
              <a:defRPr/>
            </a:pPr>
            <a:endParaRPr lang="en-US">
              <a:solidFill>
                <a:schemeClr val="tx1"/>
              </a:solidFill>
            </a:endParaRPr>
          </a:p>
        </p:txBody>
      </p:sp>
      <p:sp>
        <p:nvSpPr>
          <p:cNvPr id="3" name="Textfeld 2"/>
          <p:cNvSpPr txBox="1"/>
          <p:nvPr/>
        </p:nvSpPr>
        <p:spPr>
          <a:xfrm>
            <a:off x="0" y="2780928"/>
            <a:ext cx="11377264" cy="4062651"/>
          </a:xfrm>
          <a:prstGeom prst="rect">
            <a:avLst/>
          </a:prstGeom>
          <a:noFill/>
        </p:spPr>
        <p:txBody>
          <a:bodyPr wrap="square" rtlCol="0">
            <a:spAutoFit/>
          </a:bodyPr>
          <a:lstStyle/>
          <a:p>
            <a:pPr algn="ctr">
              <a:spcBef>
                <a:spcPts val="1200"/>
              </a:spcBef>
              <a:spcAft>
                <a:spcPts val="1200"/>
              </a:spcAft>
            </a:pPr>
            <a:r>
              <a:rPr lang="de-DE" sz="3200" b="1" i="1" dirty="0" smtClean="0">
                <a:solidFill>
                  <a:srgbClr val="C00000"/>
                </a:solidFill>
                <a:latin typeface="Bahnschrift Light" panose="020B0502040204020203" pitchFamily="34" charset="0"/>
              </a:rPr>
              <a:t>„Deutschland </a:t>
            </a:r>
            <a:r>
              <a:rPr lang="de-DE" sz="3200" b="1" i="1" dirty="0">
                <a:solidFill>
                  <a:srgbClr val="C00000"/>
                </a:solidFill>
                <a:latin typeface="Bahnschrift Light" panose="020B0502040204020203" pitchFamily="34" charset="0"/>
              </a:rPr>
              <a:t>ist für den Katastrophenfall durch mögliche große Hitzewellen nicht gerüstet.“</a:t>
            </a:r>
            <a:r>
              <a:rPr lang="de-DE" sz="3200" i="1" dirty="0"/>
              <a:t/>
            </a:r>
            <a:br>
              <a:rPr lang="de-DE" sz="3200" i="1" dirty="0"/>
            </a:br>
            <a:r>
              <a:rPr lang="de-DE" sz="2000" i="1" dirty="0"/>
              <a:t/>
            </a:r>
            <a:br>
              <a:rPr lang="de-DE" sz="2000" i="1" dirty="0"/>
            </a:br>
            <a:r>
              <a:rPr lang="de-DE" sz="1400" dirty="0"/>
              <a:t>(Lancet Countdown </a:t>
            </a:r>
            <a:r>
              <a:rPr lang="de-DE" sz="1400" dirty="0" err="1"/>
              <a:t>Policy</a:t>
            </a:r>
            <a:r>
              <a:rPr lang="de-DE" sz="1400" dirty="0"/>
              <a:t> Brief für Deutschland 2021)</a:t>
            </a:r>
            <a:br>
              <a:rPr lang="de-DE" sz="1400" dirty="0"/>
            </a:br>
            <a:r>
              <a:rPr lang="de-DE" sz="1400" dirty="0"/>
              <a:t/>
            </a:r>
            <a:br>
              <a:rPr lang="de-DE" sz="1400" dirty="0"/>
            </a:br>
            <a:endParaRPr lang="de-DE" sz="1400" dirty="0"/>
          </a:p>
          <a:p>
            <a:pPr algn="ctr">
              <a:spcBef>
                <a:spcPts val="1200"/>
              </a:spcBef>
              <a:spcAft>
                <a:spcPts val="1200"/>
              </a:spcAft>
            </a:pPr>
            <a:r>
              <a:rPr lang="de-DE" sz="2400" b="1" dirty="0" smtClean="0">
                <a:solidFill>
                  <a:srgbClr val="0070C0"/>
                </a:solidFill>
              </a:rPr>
              <a:t>Mögliche Intervention: </a:t>
            </a:r>
          </a:p>
          <a:p>
            <a:pPr algn="ctr">
              <a:spcBef>
                <a:spcPts val="1200"/>
              </a:spcBef>
              <a:spcAft>
                <a:spcPts val="1200"/>
              </a:spcAft>
            </a:pPr>
            <a:r>
              <a:rPr lang="de-DE" sz="2400" b="1" dirty="0" smtClean="0">
                <a:solidFill>
                  <a:srgbClr val="0070C0"/>
                </a:solidFill>
              </a:rPr>
              <a:t>Hitzeschutzbündnisse der Gesundheitsakteuer auf kommunaler Ebene</a:t>
            </a:r>
            <a:endParaRPr lang="de-DE" sz="2400" b="1" dirty="0" smtClean="0">
              <a:solidFill>
                <a:srgbClr val="0070C0"/>
              </a:solidFill>
            </a:endParaRPr>
          </a:p>
          <a:p>
            <a:pPr algn="ctr">
              <a:spcBef>
                <a:spcPts val="1200"/>
              </a:spcBef>
              <a:spcAft>
                <a:spcPts val="1200"/>
              </a:spcAft>
            </a:pPr>
            <a:endParaRPr lang="de-DE" sz="2400" dirty="0">
              <a:solidFill>
                <a:srgbClr val="0070C0"/>
              </a:solidFill>
            </a:endParaRPr>
          </a:p>
        </p:txBody>
      </p:sp>
      <p:pic>
        <p:nvPicPr>
          <p:cNvPr id="7" name="Grafik 39"/>
          <p:cNvPicPr>
            <a:picLocks noChangeAspect="1"/>
          </p:cNvPicPr>
          <p:nvPr/>
        </p:nvPicPr>
        <p:blipFill>
          <a:blip r:embed="rId3"/>
          <a:stretch/>
        </p:blipFill>
        <p:spPr bwMode="auto">
          <a:xfrm>
            <a:off x="-1" y="1"/>
            <a:ext cx="12192001" cy="2019812"/>
          </a:xfrm>
          <a:prstGeom prst="rect">
            <a:avLst/>
          </a:prstGeom>
        </p:spPr>
      </p:pic>
    </p:spTree>
    <p:extLst>
      <p:ext uri="{BB962C8B-B14F-4D97-AF65-F5344CB8AC3E}">
        <p14:creationId xmlns:p14="http://schemas.microsoft.com/office/powerpoint/2010/main" val="2562053108"/>
      </p:ext>
    </p:extLst>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marL="0" indent="0"/>
            <a:r>
              <a:rPr lang="de-DE" sz="3600" dirty="0" smtClean="0">
                <a:solidFill>
                  <a:srgbClr val="000090"/>
                </a:solidFill>
              </a:rPr>
              <a:t>Einladung zu handeln</a:t>
            </a:r>
            <a:endParaRPr lang="de-DE" sz="3600" dirty="0">
              <a:solidFill>
                <a:srgbClr val="000090"/>
              </a:solidFill>
            </a:endParaRPr>
          </a:p>
        </p:txBody>
      </p:sp>
      <p:sp>
        <p:nvSpPr>
          <p:cNvPr id="4" name="Inhaltsplatzhalter 3"/>
          <p:cNvSpPr>
            <a:spLocks noGrp="1"/>
          </p:cNvSpPr>
          <p:nvPr>
            <p:ph idx="1"/>
          </p:nvPr>
        </p:nvSpPr>
        <p:spPr>
          <a:xfrm>
            <a:off x="695400" y="1556792"/>
            <a:ext cx="10686527" cy="4608512"/>
          </a:xfrm>
        </p:spPr>
        <p:txBody>
          <a:bodyPr>
            <a:noAutofit/>
          </a:bodyPr>
          <a:lstStyle/>
          <a:p>
            <a:pPr lvl="0"/>
            <a:r>
              <a:rPr lang="de-DE" dirty="0" smtClean="0">
                <a:solidFill>
                  <a:srgbClr val="000090"/>
                </a:solidFill>
              </a:rPr>
              <a:t>Keimzelle für Hitzeschutzbündnis </a:t>
            </a:r>
            <a:r>
              <a:rPr lang="de-DE" dirty="0" smtClean="0">
                <a:solidFill>
                  <a:srgbClr val="000090"/>
                </a:solidFill>
              </a:rPr>
              <a:t>initiieren</a:t>
            </a:r>
          </a:p>
          <a:p>
            <a:pPr lvl="0"/>
            <a:r>
              <a:rPr lang="de-DE" dirty="0" err="1" smtClean="0">
                <a:solidFill>
                  <a:srgbClr val="000090"/>
                </a:solidFill>
              </a:rPr>
              <a:t>Agendasetting</a:t>
            </a:r>
            <a:r>
              <a:rPr lang="de-DE" dirty="0" smtClean="0">
                <a:solidFill>
                  <a:srgbClr val="000090"/>
                </a:solidFill>
              </a:rPr>
              <a:t> im eigenen Kontext (Institution, Kommune.....)</a:t>
            </a:r>
          </a:p>
          <a:p>
            <a:pPr lvl="0"/>
            <a:r>
              <a:rPr lang="de-DE" dirty="0" smtClean="0">
                <a:solidFill>
                  <a:srgbClr val="000090"/>
                </a:solidFill>
              </a:rPr>
              <a:t>Beteiligung </a:t>
            </a:r>
            <a:r>
              <a:rPr lang="de-DE" dirty="0" err="1" smtClean="0">
                <a:solidFill>
                  <a:srgbClr val="000090"/>
                </a:solidFill>
              </a:rPr>
              <a:t>Health</a:t>
            </a:r>
            <a:r>
              <a:rPr lang="de-DE" dirty="0" smtClean="0">
                <a:solidFill>
                  <a:srgbClr val="000090"/>
                </a:solidFill>
              </a:rPr>
              <a:t> </a:t>
            </a:r>
            <a:r>
              <a:rPr lang="de-DE" dirty="0" err="1" smtClean="0">
                <a:solidFill>
                  <a:srgbClr val="000090"/>
                </a:solidFill>
              </a:rPr>
              <a:t>for</a:t>
            </a:r>
            <a:r>
              <a:rPr lang="de-DE" dirty="0" smtClean="0">
                <a:solidFill>
                  <a:srgbClr val="000090"/>
                </a:solidFill>
              </a:rPr>
              <a:t> Future Kampagnen zu Hitze</a:t>
            </a:r>
          </a:p>
          <a:p>
            <a:pPr lvl="0"/>
            <a:r>
              <a:rPr lang="de-DE" dirty="0" smtClean="0">
                <a:solidFill>
                  <a:srgbClr val="000090"/>
                </a:solidFill>
              </a:rPr>
              <a:t>Teilnahme Skills Lab </a:t>
            </a:r>
            <a:r>
              <a:rPr lang="de-DE" dirty="0" err="1" smtClean="0">
                <a:solidFill>
                  <a:srgbClr val="000090"/>
                </a:solidFill>
              </a:rPr>
              <a:t>Health</a:t>
            </a:r>
            <a:r>
              <a:rPr lang="de-DE" dirty="0" smtClean="0">
                <a:solidFill>
                  <a:srgbClr val="000090"/>
                </a:solidFill>
              </a:rPr>
              <a:t> </a:t>
            </a:r>
            <a:r>
              <a:rPr lang="de-DE" dirty="0" err="1" smtClean="0">
                <a:solidFill>
                  <a:srgbClr val="000090"/>
                </a:solidFill>
              </a:rPr>
              <a:t>for</a:t>
            </a:r>
            <a:r>
              <a:rPr lang="de-DE" dirty="0" smtClean="0">
                <a:solidFill>
                  <a:srgbClr val="000090"/>
                </a:solidFill>
              </a:rPr>
              <a:t> Future</a:t>
            </a:r>
          </a:p>
          <a:p>
            <a:pPr lvl="0"/>
            <a:r>
              <a:rPr lang="de-DE" dirty="0" smtClean="0">
                <a:solidFill>
                  <a:srgbClr val="000090"/>
                </a:solidFill>
              </a:rPr>
              <a:t>Hitzesymposium 10.6.2022</a:t>
            </a:r>
            <a:endParaRPr lang="de-DE" dirty="0">
              <a:solidFill>
                <a:srgbClr val="000090"/>
              </a:solidFill>
            </a:endParaRPr>
          </a:p>
          <a:p>
            <a:pPr lvl="0"/>
            <a:r>
              <a:rPr lang="de-DE" dirty="0" smtClean="0">
                <a:solidFill>
                  <a:srgbClr val="000090"/>
                </a:solidFill>
              </a:rPr>
              <a:t>Kreativ handeln......</a:t>
            </a:r>
            <a:endParaRPr lang="de-DE" dirty="0">
              <a:solidFill>
                <a:srgbClr val="000090"/>
              </a:solidFill>
            </a:endParaRPr>
          </a:p>
        </p:txBody>
      </p:sp>
    </p:spTree>
    <p:extLst>
      <p:ext uri="{BB962C8B-B14F-4D97-AF65-F5344CB8AC3E}">
        <p14:creationId xmlns:p14="http://schemas.microsoft.com/office/powerpoint/2010/main" val="1215111564"/>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p:cNvSpPr>
            <a:spLocks noGrp="1"/>
          </p:cNvSpPr>
          <p:nvPr>
            <p:ph type="ftr" sz="quarter" idx="11"/>
          </p:nvPr>
        </p:nvSpPr>
        <p:spPr/>
        <p:txBody>
          <a:bodyPr/>
          <a:lstStyle/>
          <a:p>
            <a:r>
              <a:rPr lang="de-DE" smtClean="0">
                <a:solidFill>
                  <a:prstClr val="black">
                    <a:tint val="75000"/>
                  </a:prstClr>
                </a:solidFill>
              </a:rPr>
              <a:t>|    KLUG Herrmann 2022</a:t>
            </a:r>
            <a:endParaRPr lang="de-DE">
              <a:solidFill>
                <a:prstClr val="black">
                  <a:tint val="75000"/>
                </a:prstClr>
              </a:solidFill>
            </a:endParaRPr>
          </a:p>
        </p:txBody>
      </p:sp>
      <p:pic>
        <p:nvPicPr>
          <p:cNvPr id="5" name="Bild 4" descr="IPCC_AR6_Grafik.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3100" y="0"/>
            <a:ext cx="10845632" cy="6858000"/>
          </a:xfrm>
          <a:prstGeom prst="rect">
            <a:avLst/>
          </a:prstGeom>
        </p:spPr>
      </p:pic>
      <p:sp>
        <p:nvSpPr>
          <p:cNvPr id="6" name="Textfeld 5"/>
          <p:cNvSpPr txBox="1"/>
          <p:nvPr/>
        </p:nvSpPr>
        <p:spPr>
          <a:xfrm>
            <a:off x="9675153" y="6461178"/>
            <a:ext cx="2820363" cy="246221"/>
          </a:xfrm>
          <a:prstGeom prst="rect">
            <a:avLst/>
          </a:prstGeom>
          <a:noFill/>
        </p:spPr>
        <p:txBody>
          <a:bodyPr wrap="square" rtlCol="0">
            <a:spAutoFit/>
          </a:bodyPr>
          <a:lstStyle/>
          <a:p>
            <a:r>
              <a:rPr lang="de-DE" sz="1000" dirty="0" smtClean="0"/>
              <a:t>Source: IPCC 2.2022</a:t>
            </a:r>
            <a:endParaRPr lang="de-DE" sz="1000" dirty="0"/>
          </a:p>
        </p:txBody>
      </p:sp>
    </p:spTree>
    <p:extLst>
      <p:ext uri="{BB962C8B-B14F-4D97-AF65-F5344CB8AC3E}">
        <p14:creationId xmlns:p14="http://schemas.microsoft.com/office/powerpoint/2010/main" val="2338025575"/>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 2" descr="Bildschirmfoto 2022-05-02 um 10.53.49.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19736" y="3654884"/>
            <a:ext cx="8256240" cy="3177735"/>
          </a:xfrm>
          <a:prstGeom prst="rect">
            <a:avLst/>
          </a:prstGeom>
        </p:spPr>
      </p:pic>
      <p:pic>
        <p:nvPicPr>
          <p:cNvPr id="2" name="Bild 1" descr="Bildschirmfoto 2022-05-02 um 10.43.2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751" y="0"/>
            <a:ext cx="7112868" cy="4364386"/>
          </a:xfrm>
          <a:prstGeom prst="rect">
            <a:avLst/>
          </a:prstGeom>
        </p:spPr>
      </p:pic>
    </p:spTree>
    <p:extLst>
      <p:ext uri="{BB962C8B-B14F-4D97-AF65-F5344CB8AC3E}">
        <p14:creationId xmlns:p14="http://schemas.microsoft.com/office/powerpoint/2010/main" val="4232178255"/>
      </p:ext>
    </p:extLst>
  </p:cSld>
  <p:clrMapOvr>
    <a:masterClrMapping/>
  </p:clrMapOvr>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 3" descr="Bildschirmfoto 2022-04-25 um 09.54.28.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7408" y="260648"/>
            <a:ext cx="10845176" cy="6597352"/>
          </a:xfrm>
          <a:prstGeom prst="rect">
            <a:avLst/>
          </a:prstGeom>
        </p:spPr>
      </p:pic>
    </p:spTree>
    <p:extLst>
      <p:ext uri="{BB962C8B-B14F-4D97-AF65-F5344CB8AC3E}">
        <p14:creationId xmlns:p14="http://schemas.microsoft.com/office/powerpoint/2010/main" val="2511916486"/>
      </p:ext>
    </p:extLst>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35560" y="1628800"/>
            <a:ext cx="7781544" cy="3392424"/>
          </a:xfrm>
        </p:spPr>
        <p:txBody>
          <a:bodyPr>
            <a:normAutofit fontScale="90000"/>
          </a:bodyPr>
          <a:lstStyle/>
          <a:p>
            <a:pPr algn="ctr"/>
            <a:r>
              <a:rPr lang="en-US" dirty="0" err="1" smtClean="0"/>
              <a:t>Warum</a:t>
            </a:r>
            <a:r>
              <a:rPr lang="en-US" dirty="0" smtClean="0"/>
              <a:t> </a:t>
            </a:r>
            <a:r>
              <a:rPr lang="en-US" dirty="0" err="1" smtClean="0"/>
              <a:t>ist</a:t>
            </a:r>
            <a:r>
              <a:rPr lang="en-US" dirty="0" smtClean="0"/>
              <a:t> </a:t>
            </a:r>
            <a:r>
              <a:rPr lang="en-US" dirty="0" err="1" smtClean="0"/>
              <a:t>ein</a:t>
            </a:r>
            <a:r>
              <a:rPr lang="en-US" dirty="0" smtClean="0"/>
              <a:t> </a:t>
            </a:r>
            <a:r>
              <a:rPr lang="en-US" dirty="0" err="1" smtClean="0"/>
              <a:t>solcher</a:t>
            </a:r>
            <a:r>
              <a:rPr lang="en-US" dirty="0" smtClean="0"/>
              <a:t> </a:t>
            </a:r>
            <a:r>
              <a:rPr lang="en-US" dirty="0" err="1" smtClean="0"/>
              <a:t>Temperaturanstieg</a:t>
            </a:r>
            <a:endParaRPr lang="de-DE"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74738" y="1427177"/>
            <a:ext cx="8730567" cy="3835563"/>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4298" y="1507197"/>
            <a:ext cx="9015583" cy="3739833"/>
          </a:xfrm>
          <a:prstGeom prst="rect">
            <a:avLst/>
          </a:prstGeom>
        </p:spPr>
      </p:pic>
      <p:pic>
        <p:nvPicPr>
          <p:cNvPr id="10" name="Picture 9"/>
          <p:cNvPicPr>
            <a:picLocks noChangeAspect="1"/>
          </p:cNvPicPr>
          <p:nvPr/>
        </p:nvPicPr>
        <p:blipFill>
          <a:blip r:embed="rId5"/>
          <a:stretch>
            <a:fillRect/>
          </a:stretch>
        </p:blipFill>
        <p:spPr>
          <a:xfrm>
            <a:off x="8138055" y="1427177"/>
            <a:ext cx="2436205" cy="516771"/>
          </a:xfrm>
          <a:prstGeom prst="rect">
            <a:avLst/>
          </a:prstGeom>
        </p:spPr>
      </p:pic>
      <p:sp>
        <p:nvSpPr>
          <p:cNvPr id="8" name="Rectangle 7"/>
          <p:cNvSpPr/>
          <p:nvPr/>
        </p:nvSpPr>
        <p:spPr>
          <a:xfrm>
            <a:off x="1026241" y="3021793"/>
            <a:ext cx="1617819" cy="677108"/>
          </a:xfrm>
          <a:prstGeom prst="rect">
            <a:avLst/>
          </a:prstGeom>
        </p:spPr>
        <p:txBody>
          <a:bodyPr wrap="square" lIns="121917" tIns="60958" rIns="121917" bIns="60958">
            <a:spAutoFit/>
          </a:bodyPr>
          <a:lstStyle/>
          <a:p>
            <a:r>
              <a:rPr lang="de-DE" dirty="0">
                <a:solidFill>
                  <a:srgbClr val="333333"/>
                </a:solidFill>
              </a:rPr>
              <a:t>Eintrittswahr-scheinlichkeit</a:t>
            </a:r>
            <a:endParaRPr lang="de-DE" dirty="0"/>
          </a:p>
        </p:txBody>
      </p:sp>
      <p:grpSp>
        <p:nvGrpSpPr>
          <p:cNvPr id="12" name="Group 11"/>
          <p:cNvGrpSpPr/>
          <p:nvPr/>
        </p:nvGrpSpPr>
        <p:grpSpPr>
          <a:xfrm>
            <a:off x="23463" y="6381328"/>
            <a:ext cx="6783689" cy="472929"/>
            <a:chOff x="659569" y="6042689"/>
            <a:chExt cx="6608218" cy="472926"/>
          </a:xfrm>
        </p:grpSpPr>
        <p:sp>
          <p:nvSpPr>
            <p:cNvPr id="9" name="Rectangle 8"/>
            <p:cNvSpPr/>
            <p:nvPr/>
          </p:nvSpPr>
          <p:spPr>
            <a:xfrm>
              <a:off x="659569" y="6269395"/>
              <a:ext cx="6130559" cy="246220"/>
            </a:xfrm>
            <a:prstGeom prst="rect">
              <a:avLst/>
            </a:prstGeom>
          </p:spPr>
          <p:txBody>
            <a:bodyPr wrap="square">
              <a:spAutoFit/>
            </a:bodyPr>
            <a:lstStyle/>
            <a:p>
              <a:r>
                <a:rPr lang="en-US" sz="1000" dirty="0"/>
                <a:t>Data: James Hansen, Columbia University.</a:t>
              </a:r>
              <a:endParaRPr lang="de-DE" sz="1000" dirty="0"/>
            </a:p>
          </p:txBody>
        </p:sp>
        <p:sp>
          <p:nvSpPr>
            <p:cNvPr id="11" name="Rectangle 10"/>
            <p:cNvSpPr/>
            <p:nvPr/>
          </p:nvSpPr>
          <p:spPr>
            <a:xfrm>
              <a:off x="722539" y="6042689"/>
              <a:ext cx="6545248" cy="246220"/>
            </a:xfrm>
            <a:prstGeom prst="rect">
              <a:avLst/>
            </a:prstGeom>
          </p:spPr>
          <p:txBody>
            <a:bodyPr wrap="square">
              <a:spAutoFit/>
            </a:bodyPr>
            <a:lstStyle/>
            <a:p>
              <a:r>
                <a:rPr lang="en-US" sz="1000" dirty="0">
                  <a:solidFill>
                    <a:srgbClr val="333333"/>
                  </a:solidFill>
                </a:rPr>
                <a:t>Source: Nadja Popovich and Adam Pearce, </a:t>
              </a:r>
              <a:r>
                <a:rPr lang="en-US" sz="1000" i="1" dirty="0">
                  <a:solidFill>
                    <a:srgbClr val="333333"/>
                  </a:solidFill>
                </a:rPr>
                <a:t>New York Times</a:t>
              </a:r>
              <a:r>
                <a:rPr lang="en-US" sz="1000" dirty="0">
                  <a:solidFill>
                    <a:srgbClr val="333333"/>
                  </a:solidFill>
                </a:rPr>
                <a:t>.  </a:t>
              </a:r>
              <a:r>
                <a:rPr lang="en-US" sz="1000" dirty="0"/>
                <a:t>2017</a:t>
              </a:r>
              <a:endParaRPr lang="de-DE" sz="1000" dirty="0"/>
            </a:p>
          </p:txBody>
        </p:sp>
      </p:grpSp>
      <p:sp>
        <p:nvSpPr>
          <p:cNvPr id="6" name="TextBox 5"/>
          <p:cNvSpPr txBox="1"/>
          <p:nvPr/>
        </p:nvSpPr>
        <p:spPr>
          <a:xfrm>
            <a:off x="7936867" y="1249413"/>
            <a:ext cx="3192085" cy="779700"/>
          </a:xfrm>
          <a:prstGeom prst="rect">
            <a:avLst/>
          </a:prstGeom>
          <a:solidFill>
            <a:schemeClr val="bg1"/>
          </a:solidFill>
        </p:spPr>
        <p:txBody>
          <a:bodyPr wrap="square" lIns="121917" tIns="60958" rIns="121917" bIns="60958" rtlCol="0">
            <a:spAutoFit/>
          </a:bodyPr>
          <a:lstStyle/>
          <a:p>
            <a:r>
              <a:rPr lang="de-DE" sz="2100" dirty="0"/>
              <a:t>Sommertemperaturen</a:t>
            </a:r>
          </a:p>
          <a:p>
            <a:r>
              <a:rPr lang="de-DE" sz="2100" dirty="0"/>
              <a:t>auf der Nordhemisphäre</a:t>
            </a:r>
            <a:endParaRPr lang="en-US" sz="2100" dirty="0"/>
          </a:p>
        </p:txBody>
      </p:sp>
      <p:sp>
        <p:nvSpPr>
          <p:cNvPr id="7" name="TextBox 6"/>
          <p:cNvSpPr txBox="1"/>
          <p:nvPr/>
        </p:nvSpPr>
        <p:spPr>
          <a:xfrm>
            <a:off x="551384" y="5589240"/>
            <a:ext cx="11322193" cy="677104"/>
          </a:xfrm>
          <a:prstGeom prst="rect">
            <a:avLst/>
          </a:prstGeom>
          <a:noFill/>
        </p:spPr>
        <p:txBody>
          <a:bodyPr wrap="square" lIns="121917" tIns="60958" rIns="121917" bIns="60958" rtlCol="0">
            <a:spAutoFit/>
          </a:bodyPr>
          <a:lstStyle/>
          <a:p>
            <a:r>
              <a:rPr lang="de-DE" dirty="0" smtClean="0"/>
              <a:t>Eine Rechtsverschiebung der gesamten Temperaturverteilung führt nicht nur zu einem höheren </a:t>
            </a:r>
          </a:p>
          <a:p>
            <a:r>
              <a:rPr lang="de-DE" dirty="0" smtClean="0"/>
              <a:t>Temperaturmittelwert, aber vor allem zu häufigeren und wesentlich höheren Extremtemperaturen.</a:t>
            </a:r>
            <a:endParaRPr lang="en-US" dirty="0"/>
          </a:p>
        </p:txBody>
      </p:sp>
      <p:sp>
        <p:nvSpPr>
          <p:cNvPr id="14" name="Title 1"/>
          <p:cNvSpPr txBox="1">
            <a:spLocks/>
          </p:cNvSpPr>
          <p:nvPr/>
        </p:nvSpPr>
        <p:spPr bwMode="auto">
          <a:xfrm>
            <a:off x="250825" y="83545"/>
            <a:ext cx="8642350" cy="648000"/>
          </a:xfrm>
          <a:prstGeom prst="rect">
            <a:avLst/>
          </a:prstGeom>
        </p:spPr>
        <p:txBody>
          <a:bodyPr vert="horz" lIns="91440" tIns="45720" rIns="91440" bIns="45720" rtlCol="0" anchor="ctr">
            <a:normAutofit fontScale="32500" lnSpcReduction="20000"/>
          </a:bodyPr>
          <a:lstStyle>
            <a:lvl1pPr algn="ctr" defTabSz="914400">
              <a:lnSpc>
                <a:spcPct val="100000"/>
              </a:lnSpc>
              <a:spcBef>
                <a:spcPts val="0"/>
              </a:spcBef>
              <a:buNone/>
              <a:defRPr sz="7800">
                <a:solidFill>
                  <a:schemeClr val="tx1"/>
                </a:solidFill>
                <a:latin typeface="+mj-lt"/>
                <a:ea typeface="+mj-ea"/>
                <a:cs typeface="+mj-cs"/>
              </a:defRPr>
            </a:lvl1pPr>
          </a:lstStyle>
          <a:p>
            <a:r>
              <a:rPr lang="en-US" dirty="0" err="1" smtClean="0"/>
              <a:t>Warum</a:t>
            </a:r>
            <a:r>
              <a:rPr lang="en-US" dirty="0" smtClean="0"/>
              <a:t> </a:t>
            </a:r>
            <a:r>
              <a:rPr lang="en-US" dirty="0" err="1" smtClean="0"/>
              <a:t>ist</a:t>
            </a:r>
            <a:r>
              <a:rPr lang="en-US" dirty="0" smtClean="0"/>
              <a:t> </a:t>
            </a:r>
            <a:r>
              <a:rPr lang="en-US" dirty="0" err="1" smtClean="0"/>
              <a:t>ein</a:t>
            </a:r>
            <a:r>
              <a:rPr lang="en-US" dirty="0" smtClean="0"/>
              <a:t> </a:t>
            </a:r>
            <a:r>
              <a:rPr lang="en-US" dirty="0" err="1" smtClean="0"/>
              <a:t>Temperaturanstieg</a:t>
            </a:r>
            <a:r>
              <a:rPr lang="en-US" dirty="0" smtClean="0"/>
              <a:t> von 2 Grad </a:t>
            </a:r>
            <a:r>
              <a:rPr lang="en-US" dirty="0" err="1" smtClean="0"/>
              <a:t>bedeutsam</a:t>
            </a:r>
            <a:r>
              <a:rPr lang="en-US" dirty="0" smtClean="0"/>
              <a:t>?</a:t>
            </a:r>
            <a:endParaRPr lang="de-DE" dirty="0"/>
          </a:p>
        </p:txBody>
      </p:sp>
    </p:spTree>
    <p:extLst>
      <p:ext uri="{BB962C8B-B14F-4D97-AF65-F5344CB8AC3E}">
        <p14:creationId xmlns:p14="http://schemas.microsoft.com/office/powerpoint/2010/main" val="2510872449"/>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wipe(left)">
                                      <p:cBhvr>
                                        <p:cTn id="1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uppieren 8"/>
          <p:cNvGrpSpPr/>
          <p:nvPr/>
        </p:nvGrpSpPr>
        <p:grpSpPr>
          <a:xfrm>
            <a:off x="619372" y="2294315"/>
            <a:ext cx="4423008" cy="4536504"/>
            <a:chOff x="3357239" y="130258"/>
            <a:chExt cx="4426474" cy="4572976"/>
          </a:xfrm>
        </p:grpSpPr>
        <p:pic>
          <p:nvPicPr>
            <p:cNvPr id="6" name="Bild 4"/>
            <p:cNvPicPr>
              <a:picLocks noChangeAspect="1"/>
            </p:cNvPicPr>
            <p:nvPr/>
          </p:nvPicPr>
          <p:blipFill>
            <a:blip r:embed="rId3"/>
            <a:stretch>
              <a:fillRect/>
            </a:stretch>
          </p:blipFill>
          <p:spPr>
            <a:xfrm>
              <a:off x="3407909" y="130258"/>
              <a:ext cx="4261359" cy="4572976"/>
            </a:xfrm>
            <a:prstGeom prst="rect">
              <a:avLst/>
            </a:prstGeom>
          </p:spPr>
        </p:pic>
        <p:sp>
          <p:nvSpPr>
            <p:cNvPr id="2" name="Ellipse 1"/>
            <p:cNvSpPr/>
            <p:nvPr/>
          </p:nvSpPr>
          <p:spPr>
            <a:xfrm>
              <a:off x="3357239" y="352940"/>
              <a:ext cx="4426474" cy="1890210"/>
            </a:xfrm>
            <a:prstGeom prst="ellipse">
              <a:avLst/>
            </a:prstGeom>
            <a:noFill/>
            <a:ln w="254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solidFill>
                  <a:srgbClr val="C00000"/>
                </a:solidFill>
              </a:endParaRPr>
            </a:p>
          </p:txBody>
        </p:sp>
      </p:grpSp>
      <p:sp>
        <p:nvSpPr>
          <p:cNvPr id="7" name="Textfeld 6"/>
          <p:cNvSpPr txBox="1"/>
          <p:nvPr/>
        </p:nvSpPr>
        <p:spPr>
          <a:xfrm>
            <a:off x="191344" y="709661"/>
            <a:ext cx="12792743" cy="400110"/>
          </a:xfrm>
          <a:prstGeom prst="rect">
            <a:avLst/>
          </a:prstGeom>
          <a:noFill/>
        </p:spPr>
        <p:txBody>
          <a:bodyPr wrap="square" rtlCol="0">
            <a:spAutoFit/>
          </a:bodyPr>
          <a:lstStyle/>
          <a:p>
            <a:r>
              <a:rPr lang="de-DE" sz="2000" b="1" dirty="0">
                <a:solidFill>
                  <a:srgbClr val="C00000"/>
                </a:solidFill>
              </a:rPr>
              <a:t>Bisher keine systematische und flächendeckende Umsetzung von integrierten Hitzeaktionsplänen</a:t>
            </a:r>
          </a:p>
        </p:txBody>
      </p:sp>
      <p:sp>
        <p:nvSpPr>
          <p:cNvPr id="3" name="Rechteck 2"/>
          <p:cNvSpPr/>
          <p:nvPr/>
        </p:nvSpPr>
        <p:spPr>
          <a:xfrm>
            <a:off x="6096000" y="3068960"/>
            <a:ext cx="5904656" cy="2954655"/>
          </a:xfrm>
          <a:prstGeom prst="rect">
            <a:avLst/>
          </a:prstGeom>
        </p:spPr>
        <p:txBody>
          <a:bodyPr wrap="square">
            <a:spAutoFit/>
          </a:bodyPr>
          <a:lstStyle/>
          <a:p>
            <a:r>
              <a:rPr lang="de-DE" sz="2800" i="1" dirty="0">
                <a:solidFill>
                  <a:srgbClr val="C00000"/>
                </a:solidFill>
                <a:latin typeface="Bahnschrift Light" panose="020B0502040204020203" pitchFamily="34" charset="0"/>
              </a:rPr>
              <a:t>„</a:t>
            </a:r>
            <a:r>
              <a:rPr lang="de-DE" sz="2800" b="1" i="1" dirty="0">
                <a:solidFill>
                  <a:srgbClr val="C00000"/>
                </a:solidFill>
                <a:latin typeface="Bahnschrift Light" panose="020B0502040204020203" pitchFamily="34" charset="0"/>
              </a:rPr>
              <a:t>Deutschland ist für den Katastrophenfall durch </a:t>
            </a:r>
            <a:r>
              <a:rPr lang="de-DE" sz="2800" b="1" i="1" dirty="0" smtClean="0">
                <a:solidFill>
                  <a:srgbClr val="C00000"/>
                </a:solidFill>
                <a:latin typeface="Bahnschrift Light" panose="020B0502040204020203" pitchFamily="34" charset="0"/>
              </a:rPr>
              <a:t>mögliche </a:t>
            </a:r>
            <a:r>
              <a:rPr lang="de-DE" sz="2800" b="1" i="1" dirty="0">
                <a:solidFill>
                  <a:srgbClr val="C00000"/>
                </a:solidFill>
                <a:latin typeface="Bahnschrift Light" panose="020B0502040204020203" pitchFamily="34" charset="0"/>
              </a:rPr>
              <a:t>große Hitzewellen nicht gerüstet.“</a:t>
            </a:r>
            <a:r>
              <a:rPr lang="de-DE" sz="2800" i="1" dirty="0"/>
              <a:t/>
            </a:r>
            <a:br>
              <a:rPr lang="de-DE" sz="2800" i="1" dirty="0"/>
            </a:br>
            <a:r>
              <a:rPr lang="de-DE" sz="2400" i="1" dirty="0"/>
              <a:t/>
            </a:r>
            <a:br>
              <a:rPr lang="de-DE" sz="2400" i="1" dirty="0"/>
            </a:br>
            <a:r>
              <a:rPr lang="de-DE" sz="1050" dirty="0"/>
              <a:t>(Lancet Countdown Policy Brief für Deutschland 2021)</a:t>
            </a:r>
            <a:r>
              <a:rPr lang="de-DE" sz="1600" dirty="0"/>
              <a:t/>
            </a:r>
            <a:br>
              <a:rPr lang="de-DE" sz="1600" dirty="0"/>
            </a:br>
            <a:r>
              <a:rPr lang="de-DE" sz="1600" dirty="0"/>
              <a:t/>
            </a:r>
            <a:br>
              <a:rPr lang="de-DE" sz="1600" dirty="0"/>
            </a:br>
            <a:endParaRPr lang="de-DE" dirty="0"/>
          </a:p>
        </p:txBody>
      </p:sp>
      <p:sp>
        <p:nvSpPr>
          <p:cNvPr id="5" name="Textfeld 4"/>
          <p:cNvSpPr txBox="1"/>
          <p:nvPr/>
        </p:nvSpPr>
        <p:spPr>
          <a:xfrm>
            <a:off x="2388987" y="1230076"/>
            <a:ext cx="828092" cy="400110"/>
          </a:xfrm>
          <a:prstGeom prst="rect">
            <a:avLst/>
          </a:prstGeom>
          <a:noFill/>
        </p:spPr>
        <p:txBody>
          <a:bodyPr wrap="square" rtlCol="0">
            <a:spAutoFit/>
          </a:bodyPr>
          <a:lstStyle/>
          <a:p>
            <a:r>
              <a:rPr lang="en-GB" sz="2000" b="1" dirty="0" smtClean="0"/>
              <a:t>2019</a:t>
            </a:r>
            <a:endParaRPr lang="de-DE" sz="2000" b="1" dirty="0"/>
          </a:p>
        </p:txBody>
      </p:sp>
      <p:sp>
        <p:nvSpPr>
          <p:cNvPr id="8" name="Textfeld 7"/>
          <p:cNvSpPr txBox="1"/>
          <p:nvPr/>
        </p:nvSpPr>
        <p:spPr>
          <a:xfrm>
            <a:off x="8400256" y="1230076"/>
            <a:ext cx="792088" cy="400110"/>
          </a:xfrm>
          <a:prstGeom prst="rect">
            <a:avLst/>
          </a:prstGeom>
          <a:noFill/>
        </p:spPr>
        <p:txBody>
          <a:bodyPr wrap="square" rtlCol="0">
            <a:spAutoFit/>
          </a:bodyPr>
          <a:lstStyle/>
          <a:p>
            <a:r>
              <a:rPr lang="en-GB" sz="2000" b="1" dirty="0" smtClean="0"/>
              <a:t>2021</a:t>
            </a:r>
            <a:endParaRPr lang="de-DE" sz="2000" b="1" dirty="0"/>
          </a:p>
        </p:txBody>
      </p:sp>
      <p:sp>
        <p:nvSpPr>
          <p:cNvPr id="10" name="Textfeld 9"/>
          <p:cNvSpPr txBox="1"/>
          <p:nvPr/>
        </p:nvSpPr>
        <p:spPr>
          <a:xfrm>
            <a:off x="389762" y="198699"/>
            <a:ext cx="11839535" cy="430887"/>
          </a:xfrm>
          <a:prstGeom prst="rect">
            <a:avLst/>
          </a:prstGeom>
          <a:noFill/>
        </p:spPr>
        <p:txBody>
          <a:bodyPr wrap="square" rtlCol="0">
            <a:spAutoFit/>
          </a:bodyPr>
          <a:lstStyle/>
          <a:p>
            <a:r>
              <a:rPr lang="de-DE" sz="2200" dirty="0" smtClean="0">
                <a:latin typeface="Verdana" panose="020B0604030504040204" pitchFamily="34" charset="0"/>
                <a:ea typeface="Verdana" panose="020B0604030504040204" pitchFamily="34" charset="0"/>
              </a:rPr>
              <a:t>Lancet Countdown on Health and </a:t>
            </a:r>
            <a:r>
              <a:rPr lang="de-DE" sz="2200" dirty="0" err="1" smtClean="0">
                <a:latin typeface="Verdana" panose="020B0604030504040204" pitchFamily="34" charset="0"/>
                <a:ea typeface="Verdana" panose="020B0604030504040204" pitchFamily="34" charset="0"/>
              </a:rPr>
              <a:t>Climate</a:t>
            </a:r>
            <a:r>
              <a:rPr lang="de-DE" sz="2200" dirty="0" smtClean="0">
                <a:latin typeface="Verdana" panose="020B0604030504040204" pitchFamily="34" charset="0"/>
                <a:ea typeface="Verdana" panose="020B0604030504040204" pitchFamily="34" charset="0"/>
              </a:rPr>
              <a:t> Change: Policy Brief für Deutschland</a:t>
            </a:r>
            <a:endParaRPr lang="de-DE" sz="2200" dirty="0">
              <a:latin typeface="Verdana" panose="020B0604030504040204" pitchFamily="34" charset="0"/>
              <a:ea typeface="Verdana" panose="020B0604030504040204" pitchFamily="34" charset="0"/>
            </a:endParaRPr>
          </a:p>
        </p:txBody>
      </p:sp>
      <p:sp>
        <p:nvSpPr>
          <p:cNvPr id="15" name="Bogen 14"/>
          <p:cNvSpPr/>
          <p:nvPr/>
        </p:nvSpPr>
        <p:spPr>
          <a:xfrm rot="8235531">
            <a:off x="4068900" y="-1593600"/>
            <a:ext cx="4320480" cy="4015483"/>
          </a:xfrm>
          <a:prstGeom prst="arc">
            <a:avLst/>
          </a:prstGeom>
          <a:ln w="50800">
            <a:solidFill>
              <a:srgbClr val="C00000"/>
            </a:solidFill>
            <a:headEnd type="stealth"/>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Tree>
    <p:extLst>
      <p:ext uri="{BB962C8B-B14F-4D97-AF65-F5344CB8AC3E}">
        <p14:creationId xmlns:p14="http://schemas.microsoft.com/office/powerpoint/2010/main" val="3404460230"/>
      </p:ext>
    </p:extLst>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de-DE" sz="2800" b="1" dirty="0" smtClean="0">
                <a:solidFill>
                  <a:srgbClr val="000090"/>
                </a:solidFill>
                <a:latin typeface="Calibri"/>
                <a:cs typeface="Calibri"/>
              </a:rPr>
              <a:t>Intervention / Konzept </a:t>
            </a:r>
            <a:r>
              <a:rPr lang="de-DE" sz="2800" b="1" dirty="0">
                <a:solidFill>
                  <a:srgbClr val="000090"/>
                </a:solidFill>
                <a:latin typeface="Calibri"/>
                <a:cs typeface="Calibri"/>
              </a:rPr>
              <a:t>für raschen </a:t>
            </a:r>
            <a:r>
              <a:rPr lang="de-DE" sz="2800" b="1" dirty="0" smtClean="0">
                <a:solidFill>
                  <a:srgbClr val="000090"/>
                </a:solidFill>
                <a:latin typeface="Calibri"/>
                <a:cs typeface="Calibri"/>
              </a:rPr>
              <a:t>Hitzeschutz: Aufbau von Hitzeschutzbündnissen auf kommunaler-, Landes- und Bundesebene</a:t>
            </a:r>
            <a:endParaRPr lang="de-DE" sz="2800" dirty="0">
              <a:solidFill>
                <a:srgbClr val="000090"/>
              </a:solidFill>
              <a:latin typeface="Calibri"/>
              <a:cs typeface="Calibri"/>
            </a:endParaRPr>
          </a:p>
        </p:txBody>
      </p:sp>
      <p:sp>
        <p:nvSpPr>
          <p:cNvPr id="4" name="Inhaltsplatzhalter 3"/>
          <p:cNvSpPr>
            <a:spLocks noGrp="1"/>
          </p:cNvSpPr>
          <p:nvPr>
            <p:ph idx="1"/>
          </p:nvPr>
        </p:nvSpPr>
        <p:spPr>
          <a:xfrm>
            <a:off x="767408" y="1484784"/>
            <a:ext cx="10441160" cy="4251960"/>
          </a:xfrm>
        </p:spPr>
        <p:txBody>
          <a:bodyPr>
            <a:noAutofit/>
          </a:bodyPr>
          <a:lstStyle/>
          <a:p>
            <a:pPr marL="0" indent="0">
              <a:buNone/>
            </a:pPr>
            <a:endParaRPr lang="de-DE" sz="1800" dirty="0" smtClean="0"/>
          </a:p>
          <a:p>
            <a:pPr marL="0" indent="0">
              <a:buNone/>
            </a:pPr>
            <a:r>
              <a:rPr lang="de-DE" sz="2400" dirty="0" smtClean="0">
                <a:solidFill>
                  <a:srgbClr val="000090"/>
                </a:solidFill>
              </a:rPr>
              <a:t>Grundgedanke : </a:t>
            </a:r>
            <a:endParaRPr lang="de-DE" sz="2400" dirty="0" smtClean="0">
              <a:solidFill>
                <a:srgbClr val="000090"/>
              </a:solidFill>
            </a:endParaRPr>
          </a:p>
          <a:p>
            <a:pPr marL="0" indent="0">
              <a:buNone/>
            </a:pPr>
            <a:r>
              <a:rPr lang="de-DE" sz="2400" dirty="0" smtClean="0">
                <a:solidFill>
                  <a:srgbClr val="000090"/>
                </a:solidFill>
              </a:rPr>
              <a:t>Verantwortung </a:t>
            </a:r>
            <a:r>
              <a:rPr lang="de-DE" sz="2400" dirty="0">
                <a:solidFill>
                  <a:srgbClr val="000090"/>
                </a:solidFill>
              </a:rPr>
              <a:t>im Gesundheitssektor schließt  einen vorausschauenden Umgang mit neuen Gesundheitsrisiken ein. </a:t>
            </a:r>
            <a:endParaRPr lang="de-DE" sz="2400" dirty="0" smtClean="0">
              <a:solidFill>
                <a:srgbClr val="000090"/>
              </a:solidFill>
            </a:endParaRPr>
          </a:p>
          <a:p>
            <a:pPr marL="0" indent="0">
              <a:buNone/>
            </a:pPr>
            <a:endParaRPr lang="de-DE" sz="2400" dirty="0" smtClean="0">
              <a:solidFill>
                <a:srgbClr val="000090"/>
              </a:solidFill>
            </a:endParaRPr>
          </a:p>
          <a:p>
            <a:pPr marL="0" indent="0">
              <a:buNone/>
            </a:pPr>
            <a:r>
              <a:rPr lang="de-DE" sz="2400" dirty="0" smtClean="0">
                <a:solidFill>
                  <a:srgbClr val="000090"/>
                </a:solidFill>
              </a:rPr>
              <a:t>Verantwortliche </a:t>
            </a:r>
            <a:r>
              <a:rPr lang="de-DE" sz="2400" dirty="0">
                <a:solidFill>
                  <a:srgbClr val="000090"/>
                </a:solidFill>
              </a:rPr>
              <a:t>Personen, wie zum Beispiel die Leiterin der Notaufnahme eines Universitätsklinikums, werden diese Verantwortung für Hitzeschutz wahrnehmen, wenn sie ausreichend über das Thema aufgeklärt sind und Unterstützung erhalten. </a:t>
            </a:r>
          </a:p>
          <a:p>
            <a:pPr marL="0" indent="0">
              <a:buNone/>
            </a:pPr>
            <a:endParaRPr lang="de-DE" sz="1800" dirty="0" smtClean="0">
              <a:solidFill>
                <a:srgbClr val="000090"/>
              </a:solidFill>
            </a:endParaRPr>
          </a:p>
        </p:txBody>
      </p:sp>
    </p:spTree>
    <p:extLst>
      <p:ext uri="{BB962C8B-B14F-4D97-AF65-F5344CB8AC3E}">
        <p14:creationId xmlns:p14="http://schemas.microsoft.com/office/powerpoint/2010/main" val="2477920330"/>
      </p:ext>
    </p:extLst>
  </p:cSld>
  <p:clrMapOvr>
    <a:masterClrMapping/>
  </p:clrMapOvr>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442376" cy="1119659"/>
          </a:xfrm>
        </p:spPr>
        <p:txBody>
          <a:bodyPr>
            <a:normAutofit/>
          </a:bodyPr>
          <a:lstStyle/>
          <a:p>
            <a:r>
              <a:rPr lang="de-DE" sz="2800" b="1" dirty="0" smtClean="0">
                <a:solidFill>
                  <a:srgbClr val="000090"/>
                </a:solidFill>
                <a:latin typeface="Calibri"/>
                <a:cs typeface="Calibri"/>
              </a:rPr>
              <a:t>5 Handlungsfelder in, zwischen und </a:t>
            </a:r>
            <a:r>
              <a:rPr lang="de-DE" sz="2800" b="1" dirty="0" err="1" smtClean="0">
                <a:solidFill>
                  <a:srgbClr val="000090"/>
                </a:solidFill>
                <a:latin typeface="Calibri"/>
                <a:cs typeface="Calibri"/>
              </a:rPr>
              <a:t>trans</a:t>
            </a:r>
            <a:r>
              <a:rPr lang="de-DE" sz="2800" b="1" dirty="0" smtClean="0">
                <a:solidFill>
                  <a:srgbClr val="000090"/>
                </a:solidFill>
                <a:latin typeface="Calibri"/>
                <a:cs typeface="Calibri"/>
              </a:rPr>
              <a:t>: Krankenhäuser, Praxen, Pflege, ÖGD, Notdienste/ Katastrophenschutz, Sozialdienste...... </a:t>
            </a:r>
            <a:endParaRPr lang="de-DE" sz="2800" dirty="0">
              <a:solidFill>
                <a:srgbClr val="000090"/>
              </a:solidFill>
              <a:latin typeface="Calibri"/>
              <a:cs typeface="Calibri"/>
            </a:endParaRPr>
          </a:p>
        </p:txBody>
      </p:sp>
      <p:sp>
        <p:nvSpPr>
          <p:cNvPr id="4" name="Inhaltsplatzhalter 3"/>
          <p:cNvSpPr>
            <a:spLocks noGrp="1"/>
          </p:cNvSpPr>
          <p:nvPr>
            <p:ph idx="1"/>
          </p:nvPr>
        </p:nvSpPr>
        <p:spPr>
          <a:xfrm>
            <a:off x="767408" y="1484784"/>
            <a:ext cx="10614519" cy="4251960"/>
          </a:xfrm>
        </p:spPr>
        <p:txBody>
          <a:bodyPr>
            <a:noAutofit/>
          </a:bodyPr>
          <a:lstStyle/>
          <a:p>
            <a:pPr marL="342900" indent="-342900">
              <a:buAutoNum type="arabicPeriod"/>
            </a:pPr>
            <a:r>
              <a:rPr lang="de-DE" sz="1800" dirty="0" err="1" smtClean="0">
                <a:solidFill>
                  <a:srgbClr val="000090"/>
                </a:solidFill>
              </a:rPr>
              <a:t>Agendasetting</a:t>
            </a:r>
            <a:r>
              <a:rPr lang="de-DE" sz="1800" dirty="0" smtClean="0">
                <a:solidFill>
                  <a:srgbClr val="000090"/>
                </a:solidFill>
              </a:rPr>
              <a:t>: Hitzeschutz </a:t>
            </a:r>
            <a:r>
              <a:rPr lang="de-DE" sz="1800" dirty="0" smtClean="0">
                <a:solidFill>
                  <a:srgbClr val="000090"/>
                </a:solidFill>
              </a:rPr>
              <a:t>als Pflichtaufgabe  </a:t>
            </a:r>
            <a:r>
              <a:rPr lang="de-DE" sz="1800" dirty="0" smtClean="0">
                <a:solidFill>
                  <a:srgbClr val="000090"/>
                </a:solidFill>
              </a:rPr>
              <a:t>für alle Gesundheitsinstitutionen </a:t>
            </a:r>
            <a:endParaRPr lang="de-DE" sz="1800" dirty="0" smtClean="0">
              <a:solidFill>
                <a:srgbClr val="000090"/>
              </a:solidFill>
            </a:endParaRPr>
          </a:p>
          <a:p>
            <a:pPr marL="342900" indent="-342900">
              <a:buAutoNum type="arabicPeriod"/>
            </a:pPr>
            <a:r>
              <a:rPr lang="de-DE" sz="1800" dirty="0" smtClean="0">
                <a:solidFill>
                  <a:srgbClr val="000090"/>
                </a:solidFill>
              </a:rPr>
              <a:t>Bestandsaufnahme </a:t>
            </a:r>
            <a:r>
              <a:rPr lang="de-DE" sz="1800" dirty="0" smtClean="0">
                <a:solidFill>
                  <a:srgbClr val="000090"/>
                </a:solidFill>
              </a:rPr>
              <a:t>auf institutioneller und kommunaler Ebene</a:t>
            </a:r>
          </a:p>
          <a:p>
            <a:pPr lvl="1"/>
            <a:r>
              <a:rPr lang="de-DE" sz="1800" dirty="0" smtClean="0">
                <a:solidFill>
                  <a:srgbClr val="000090"/>
                </a:solidFill>
              </a:rPr>
              <a:t>Gesundheitliche Risiken für Patienten / Bevölkerung</a:t>
            </a:r>
          </a:p>
          <a:p>
            <a:pPr lvl="1"/>
            <a:r>
              <a:rPr lang="de-DE" sz="1800" dirty="0" smtClean="0">
                <a:solidFill>
                  <a:srgbClr val="000090"/>
                </a:solidFill>
              </a:rPr>
              <a:t>Risiken für Gesundheitsberufe</a:t>
            </a:r>
          </a:p>
          <a:p>
            <a:pPr lvl="1"/>
            <a:r>
              <a:rPr lang="de-DE" sz="1800" dirty="0" smtClean="0">
                <a:solidFill>
                  <a:srgbClr val="000090"/>
                </a:solidFill>
              </a:rPr>
              <a:t>Geografie, Gebäude</a:t>
            </a:r>
          </a:p>
          <a:p>
            <a:pPr marL="342900" indent="-342900">
              <a:buAutoNum type="arabicPeriod" startAt="3"/>
            </a:pPr>
            <a:r>
              <a:rPr lang="de-DE" sz="1800" dirty="0" err="1" smtClean="0">
                <a:solidFill>
                  <a:srgbClr val="000090"/>
                </a:solidFill>
              </a:rPr>
              <a:t>Massnahmen</a:t>
            </a:r>
            <a:r>
              <a:rPr lang="de-DE" sz="1800" dirty="0" smtClean="0">
                <a:solidFill>
                  <a:srgbClr val="000090"/>
                </a:solidFill>
              </a:rPr>
              <a:t> auf </a:t>
            </a:r>
            <a:r>
              <a:rPr lang="de-DE" sz="1800" dirty="0">
                <a:solidFill>
                  <a:srgbClr val="000090"/>
                </a:solidFill>
              </a:rPr>
              <a:t>institutioneller und kommunaler </a:t>
            </a:r>
            <a:r>
              <a:rPr lang="de-DE" sz="1800" dirty="0" smtClean="0">
                <a:solidFill>
                  <a:srgbClr val="000090"/>
                </a:solidFill>
              </a:rPr>
              <a:t>Ebene</a:t>
            </a:r>
          </a:p>
          <a:p>
            <a:pPr lvl="1"/>
            <a:r>
              <a:rPr lang="de-DE" sz="1800" dirty="0" smtClean="0">
                <a:solidFill>
                  <a:srgbClr val="000090"/>
                </a:solidFill>
              </a:rPr>
              <a:t>Bezogen auf identifizierte Risiken</a:t>
            </a:r>
          </a:p>
          <a:p>
            <a:pPr lvl="1"/>
            <a:r>
              <a:rPr lang="de-DE" sz="1800" dirty="0" smtClean="0">
                <a:solidFill>
                  <a:srgbClr val="000090"/>
                </a:solidFill>
              </a:rPr>
              <a:t>Hitzeschutznetzwerke</a:t>
            </a:r>
          </a:p>
          <a:p>
            <a:pPr lvl="1"/>
            <a:r>
              <a:rPr lang="de-DE" sz="1800" dirty="0" smtClean="0">
                <a:solidFill>
                  <a:srgbClr val="000090"/>
                </a:solidFill>
              </a:rPr>
              <a:t>Kurz-, mittel-, langfristig; 3 Reifegrade</a:t>
            </a:r>
          </a:p>
          <a:p>
            <a:pPr lvl="1"/>
            <a:r>
              <a:rPr lang="de-DE" sz="1800" dirty="0" smtClean="0">
                <a:solidFill>
                  <a:srgbClr val="000090"/>
                </a:solidFill>
              </a:rPr>
              <a:t>Breite </a:t>
            </a:r>
            <a:r>
              <a:rPr lang="de-DE" sz="1800" dirty="0" err="1" smtClean="0">
                <a:solidFill>
                  <a:srgbClr val="000090"/>
                </a:solidFill>
              </a:rPr>
              <a:t>Aufklärung,breite</a:t>
            </a:r>
            <a:r>
              <a:rPr lang="de-DE" sz="1800" dirty="0" smtClean="0">
                <a:solidFill>
                  <a:srgbClr val="000090"/>
                </a:solidFill>
              </a:rPr>
              <a:t> Kompetenzentwicklung</a:t>
            </a:r>
          </a:p>
          <a:p>
            <a:pPr marL="342900" indent="-342900">
              <a:buAutoNum type="arabicPeriod" startAt="4"/>
            </a:pPr>
            <a:r>
              <a:rPr lang="de-DE" sz="1800" dirty="0" smtClean="0">
                <a:solidFill>
                  <a:srgbClr val="000090"/>
                </a:solidFill>
              </a:rPr>
              <a:t>Teilnahme an kommunalen  und regionalen Hitzeschutzbündnisse</a:t>
            </a:r>
          </a:p>
          <a:p>
            <a:pPr marL="342900" indent="-342900">
              <a:buAutoNum type="arabicPeriod" startAt="4"/>
            </a:pPr>
            <a:r>
              <a:rPr lang="de-DE" sz="1800" dirty="0" smtClean="0">
                <a:solidFill>
                  <a:srgbClr val="000090"/>
                </a:solidFill>
              </a:rPr>
              <a:t>Anpassung Gesetze, Vorgaben, Regeln, Finanzierungsregeln.......</a:t>
            </a:r>
            <a:endParaRPr lang="de-DE" sz="1800" dirty="0">
              <a:solidFill>
                <a:srgbClr val="000090"/>
              </a:solidFill>
            </a:endParaRPr>
          </a:p>
          <a:p>
            <a:pPr marL="0" indent="0">
              <a:buNone/>
            </a:pPr>
            <a:endParaRPr lang="de-DE" sz="1800" dirty="0">
              <a:solidFill>
                <a:srgbClr val="000090"/>
              </a:solidFill>
            </a:endParaRPr>
          </a:p>
        </p:txBody>
      </p:sp>
    </p:spTree>
    <p:extLst>
      <p:ext uri="{BB962C8B-B14F-4D97-AF65-F5344CB8AC3E}">
        <p14:creationId xmlns:p14="http://schemas.microsoft.com/office/powerpoint/2010/main" val="2885299712"/>
      </p:ext>
    </p:extLst>
  </p:cSld>
  <p:clrMapOvr>
    <a:masterClrMapping/>
  </p:clrMapOvr>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marL="0" indent="0"/>
            <a:r>
              <a:rPr lang="de-DE" sz="2800" dirty="0">
                <a:solidFill>
                  <a:srgbClr val="000090"/>
                </a:solidFill>
              </a:rPr>
              <a:t>Pilotprojekte:</a:t>
            </a:r>
          </a:p>
        </p:txBody>
      </p:sp>
      <p:sp>
        <p:nvSpPr>
          <p:cNvPr id="4" name="Inhaltsplatzhalter 3"/>
          <p:cNvSpPr>
            <a:spLocks noGrp="1"/>
          </p:cNvSpPr>
          <p:nvPr>
            <p:ph idx="1"/>
          </p:nvPr>
        </p:nvSpPr>
        <p:spPr>
          <a:xfrm>
            <a:off x="695400" y="1556792"/>
            <a:ext cx="10686527" cy="4608512"/>
          </a:xfrm>
        </p:spPr>
        <p:txBody>
          <a:bodyPr>
            <a:noAutofit/>
          </a:bodyPr>
          <a:lstStyle/>
          <a:p>
            <a:pPr lvl="0"/>
            <a:r>
              <a:rPr lang="de-DE" sz="1800" dirty="0" smtClean="0">
                <a:solidFill>
                  <a:srgbClr val="000090"/>
                </a:solidFill>
              </a:rPr>
              <a:t>Land </a:t>
            </a:r>
            <a:r>
              <a:rPr lang="de-DE" sz="1800" dirty="0">
                <a:solidFill>
                  <a:srgbClr val="000090"/>
                </a:solidFill>
              </a:rPr>
              <a:t>Berlin: Identifizierung und Umsetzung kurzfristiger </a:t>
            </a:r>
            <a:r>
              <a:rPr lang="de-DE" sz="1800" dirty="0" err="1">
                <a:solidFill>
                  <a:srgbClr val="000090"/>
                </a:solidFill>
              </a:rPr>
              <a:t>Massnahmen</a:t>
            </a:r>
            <a:r>
              <a:rPr lang="de-DE" sz="1800" dirty="0">
                <a:solidFill>
                  <a:srgbClr val="000090"/>
                </a:solidFill>
              </a:rPr>
              <a:t> im </a:t>
            </a:r>
            <a:r>
              <a:rPr lang="de-DE" sz="1800" dirty="0" err="1">
                <a:solidFill>
                  <a:srgbClr val="000090"/>
                </a:solidFill>
              </a:rPr>
              <a:t>Gesundheits</a:t>
            </a:r>
            <a:r>
              <a:rPr lang="de-DE" sz="1800" dirty="0">
                <a:solidFill>
                  <a:srgbClr val="000090"/>
                </a:solidFill>
              </a:rPr>
              <a:t> – und </a:t>
            </a:r>
            <a:r>
              <a:rPr lang="de-DE" sz="1800" dirty="0" smtClean="0">
                <a:solidFill>
                  <a:srgbClr val="000090"/>
                </a:solidFill>
              </a:rPr>
              <a:t>Pflegebereich </a:t>
            </a:r>
            <a:r>
              <a:rPr lang="de-DE" sz="1800" dirty="0">
                <a:solidFill>
                  <a:srgbClr val="000090"/>
                </a:solidFill>
              </a:rPr>
              <a:t>unter der </a:t>
            </a:r>
            <a:r>
              <a:rPr lang="de-DE" sz="1800" dirty="0" err="1">
                <a:solidFill>
                  <a:srgbClr val="000090"/>
                </a:solidFill>
              </a:rPr>
              <a:t>initialen</a:t>
            </a:r>
            <a:r>
              <a:rPr lang="de-DE" sz="1800" dirty="0">
                <a:solidFill>
                  <a:srgbClr val="000090"/>
                </a:solidFill>
              </a:rPr>
              <a:t> Führung der </a:t>
            </a:r>
            <a:r>
              <a:rPr lang="de-DE" sz="1800" dirty="0" smtClean="0">
                <a:solidFill>
                  <a:srgbClr val="000090"/>
                </a:solidFill>
              </a:rPr>
              <a:t>Landesärztekammer</a:t>
            </a:r>
            <a:r>
              <a:rPr lang="de-DE" sz="1800" dirty="0">
                <a:solidFill>
                  <a:srgbClr val="000090"/>
                </a:solidFill>
              </a:rPr>
              <a:t>, der zuständigen Abteilung im Senat für Gesundheit und der Deutschen Allianz Klimawandel und Gesundheit (KLUG).  </a:t>
            </a:r>
            <a:r>
              <a:rPr lang="de-DE" sz="1800" dirty="0" smtClean="0">
                <a:solidFill>
                  <a:srgbClr val="000090"/>
                </a:solidFill>
              </a:rPr>
              <a:t>Zusage für Beteiligung </a:t>
            </a:r>
            <a:r>
              <a:rPr lang="de-DE" sz="1800" dirty="0">
                <a:solidFill>
                  <a:srgbClr val="000090"/>
                </a:solidFill>
              </a:rPr>
              <a:t>durch Schlüsselakteure im Gesundheits- und Pflegebereich </a:t>
            </a:r>
            <a:r>
              <a:rPr lang="de-DE" sz="1800" dirty="0" smtClean="0">
                <a:solidFill>
                  <a:srgbClr val="000090"/>
                </a:solidFill>
              </a:rPr>
              <a:t>(</a:t>
            </a:r>
            <a:r>
              <a:rPr lang="de-DE" sz="1800" dirty="0" err="1" smtClean="0">
                <a:solidFill>
                  <a:srgbClr val="000090"/>
                </a:solidFill>
              </a:rPr>
              <a:t>Vivantes</a:t>
            </a:r>
            <a:r>
              <a:rPr lang="de-DE" sz="1800" dirty="0" smtClean="0">
                <a:solidFill>
                  <a:srgbClr val="000090"/>
                </a:solidFill>
              </a:rPr>
              <a:t>, </a:t>
            </a:r>
            <a:r>
              <a:rPr lang="de-DE" sz="1800" dirty="0" err="1" smtClean="0">
                <a:solidFill>
                  <a:srgbClr val="000090"/>
                </a:solidFill>
              </a:rPr>
              <a:t>Charite</a:t>
            </a:r>
            <a:r>
              <a:rPr lang="de-DE" sz="1800" dirty="0" smtClean="0">
                <a:solidFill>
                  <a:srgbClr val="000090"/>
                </a:solidFill>
              </a:rPr>
              <a:t>, Notarztdienst Feuerwehr Berlin, KV, AWO Berlin, .......) </a:t>
            </a:r>
            <a:endParaRPr lang="de-DE" sz="1800" dirty="0">
              <a:solidFill>
                <a:srgbClr val="000090"/>
              </a:solidFill>
            </a:endParaRPr>
          </a:p>
          <a:p>
            <a:pPr lvl="0"/>
            <a:r>
              <a:rPr lang="de-DE" sz="1800" dirty="0">
                <a:solidFill>
                  <a:srgbClr val="000090"/>
                </a:solidFill>
              </a:rPr>
              <a:t>AWO Bundesverband: Workshop auf Ebene der Entscheidungsträger zum Thema gesundheitsbezogener Hitzeschutz </a:t>
            </a:r>
          </a:p>
          <a:p>
            <a:pPr lvl="0"/>
            <a:r>
              <a:rPr lang="de-DE" sz="1800" dirty="0">
                <a:solidFill>
                  <a:srgbClr val="000090"/>
                </a:solidFill>
              </a:rPr>
              <a:t>Weitere Pilotprojekte in großen Kommunen und Institutionen </a:t>
            </a:r>
            <a:r>
              <a:rPr lang="de-DE" sz="1800" dirty="0" smtClean="0">
                <a:solidFill>
                  <a:srgbClr val="000090"/>
                </a:solidFill>
              </a:rPr>
              <a:t>im Gespräch.</a:t>
            </a:r>
          </a:p>
          <a:p>
            <a:pPr lvl="0"/>
            <a:r>
              <a:rPr lang="de-DE" sz="1800" dirty="0" smtClean="0">
                <a:solidFill>
                  <a:srgbClr val="000090"/>
                </a:solidFill>
              </a:rPr>
              <a:t>Begleitforschung: Helmholtz </a:t>
            </a:r>
            <a:r>
              <a:rPr lang="de-DE" sz="1800" dirty="0">
                <a:solidFill>
                  <a:srgbClr val="000090"/>
                </a:solidFill>
              </a:rPr>
              <a:t>Zentrum für Umwelt und Gesundheit, </a:t>
            </a:r>
            <a:r>
              <a:rPr lang="de-DE" sz="1800" dirty="0" smtClean="0">
                <a:solidFill>
                  <a:srgbClr val="000090"/>
                </a:solidFill>
              </a:rPr>
              <a:t>München. </a:t>
            </a:r>
          </a:p>
          <a:p>
            <a:pPr lvl="0"/>
            <a:r>
              <a:rPr lang="de-DE" sz="1800" dirty="0" smtClean="0">
                <a:solidFill>
                  <a:srgbClr val="000090"/>
                </a:solidFill>
              </a:rPr>
              <a:t>Wachsendes </a:t>
            </a:r>
            <a:r>
              <a:rPr lang="de-DE" sz="1800" dirty="0">
                <a:solidFill>
                  <a:srgbClr val="000090"/>
                </a:solidFill>
              </a:rPr>
              <a:t>Netzwerk von Partnern und Unterstützern </a:t>
            </a:r>
            <a:r>
              <a:rPr lang="de-DE" sz="1800" dirty="0" smtClean="0">
                <a:solidFill>
                  <a:srgbClr val="000090"/>
                </a:solidFill>
              </a:rPr>
              <a:t>(Deutsche </a:t>
            </a:r>
            <a:r>
              <a:rPr lang="de-DE" sz="1800" dirty="0">
                <a:solidFill>
                  <a:srgbClr val="000090"/>
                </a:solidFill>
              </a:rPr>
              <a:t>Pflegerat, </a:t>
            </a:r>
            <a:r>
              <a:rPr lang="de-DE" sz="1800" dirty="0" smtClean="0">
                <a:solidFill>
                  <a:srgbClr val="000090"/>
                </a:solidFill>
              </a:rPr>
              <a:t>Deutsche </a:t>
            </a:r>
            <a:r>
              <a:rPr lang="de-DE" sz="1800" dirty="0">
                <a:solidFill>
                  <a:srgbClr val="000090"/>
                </a:solidFill>
              </a:rPr>
              <a:t>Wetterdienst, </a:t>
            </a:r>
            <a:r>
              <a:rPr lang="de-DE" sz="1800" dirty="0" smtClean="0">
                <a:solidFill>
                  <a:srgbClr val="000090"/>
                </a:solidFill>
              </a:rPr>
              <a:t>AG </a:t>
            </a:r>
            <a:r>
              <a:rPr lang="de-DE" sz="1800" dirty="0">
                <a:solidFill>
                  <a:srgbClr val="000090"/>
                </a:solidFill>
              </a:rPr>
              <a:t>Klimawandel und Gesundheit der DEGAM und </a:t>
            </a:r>
            <a:r>
              <a:rPr lang="de-DE" sz="1800" dirty="0" smtClean="0">
                <a:solidFill>
                  <a:srgbClr val="000090"/>
                </a:solidFill>
              </a:rPr>
              <a:t>AG </a:t>
            </a:r>
            <a:r>
              <a:rPr lang="de-DE" sz="1800" dirty="0">
                <a:solidFill>
                  <a:srgbClr val="000090"/>
                </a:solidFill>
              </a:rPr>
              <a:t>Klimawandel und Gesundheit der </a:t>
            </a:r>
            <a:r>
              <a:rPr lang="de-DE" sz="1800" dirty="0" smtClean="0">
                <a:solidFill>
                  <a:srgbClr val="000090"/>
                </a:solidFill>
              </a:rPr>
              <a:t>Bundesärztekammer. </a:t>
            </a:r>
            <a:endParaRPr lang="de-DE" sz="1800" dirty="0">
              <a:solidFill>
                <a:srgbClr val="000090"/>
              </a:solidFill>
            </a:endParaRPr>
          </a:p>
        </p:txBody>
      </p:sp>
    </p:spTree>
    <p:extLst>
      <p:ext uri="{BB962C8B-B14F-4D97-AF65-F5344CB8AC3E}">
        <p14:creationId xmlns:p14="http://schemas.microsoft.com/office/powerpoint/2010/main" val="1436275521"/>
      </p:ext>
    </p:extLst>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ketchyVTI">
  <a:themeElements>
    <a:clrScheme name="SketchyVTI">
      <a:dk1>
        <a:sysClr val="windowText" lastClr="000000"/>
      </a:dk1>
      <a:lt1>
        <a:sysClr val="window" lastClr="FFFFFF"/>
      </a:lt1>
      <a:dk2>
        <a:srgbClr val="39302A"/>
      </a:dk2>
      <a:lt2>
        <a:srgbClr val="E5DEDB"/>
      </a:lt2>
      <a:accent1>
        <a:srgbClr val="E4650E"/>
      </a:accent1>
      <a:accent2>
        <a:srgbClr val="00A5AB"/>
      </a:accent2>
      <a:accent3>
        <a:srgbClr val="09963B"/>
      </a:accent3>
      <a:accent4>
        <a:srgbClr val="E64823"/>
      </a:accent4>
      <a:accent5>
        <a:srgbClr val="9C6A6A"/>
      </a:accent5>
      <a:accent6>
        <a:srgbClr val="824F8C"/>
      </a:accent6>
      <a:hlink>
        <a:srgbClr val="2998E3"/>
      </a:hlink>
      <a:folHlink>
        <a:srgbClr val="7F723D"/>
      </a:folHlink>
    </a:clrScheme>
    <a:fontScheme name="Custom 2">
      <a:majorFont>
        <a:latin typeface="The Serif Hand Black"/>
        <a:ea typeface="Arial"/>
        <a:cs typeface="Arial"/>
      </a:majorFont>
      <a:minorFont>
        <a:latin typeface="The Hand Bold"/>
        <a:ea typeface="Arial"/>
        <a:cs typeface="Arial"/>
      </a:minorFont>
    </a:fontScheme>
    <a:fmtScheme name="Office">
      <a:fillStyleLst>
        <a:solidFill>
          <a:schemeClr val="phClr"/>
        </a:solidFill>
        <a:gradFill>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effectStyle>
      </a:effectStyleLst>
      <a:bgFillStyleLst>
        <a:solidFill>
          <a:schemeClr val="phClr"/>
        </a:solidFill>
        <a:solidFill>
          <a:schemeClr val="phClr">
            <a:tint val="95000"/>
            <a:satMod val="170000"/>
          </a:schemeClr>
        </a:solidFill>
        <a:gradFill>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Arial"/>
        <a:cs typeface="Arial"/>
      </a:majorFont>
      <a:minorFont>
        <a:latin typeface="Calibri"/>
        <a:ea typeface="Arial"/>
        <a:cs typeface="Arial"/>
      </a:minorFont>
    </a:fontScheme>
    <a:fmtScheme name="Office">
      <a:fillStyleLst>
        <a:solidFill>
          <a:schemeClr val="phClr"/>
        </a:solidFill>
        <a:gradFill>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effectStyle>
      </a:effectStyleLst>
      <a:bgFillStyleLst>
        <a:solidFill>
          <a:schemeClr val="phClr"/>
        </a:solidFill>
        <a:solidFill>
          <a:schemeClr val="phClr">
            <a:tint val="95000"/>
            <a:satMod val="170000"/>
          </a:schemeClr>
        </a:solidFill>
        <a:gradFill>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641</Words>
  <Application>Microsoft Macintosh PowerPoint</Application>
  <DocSecurity>0</DocSecurity>
  <PresentationFormat>Benutzerdefiniert</PresentationFormat>
  <Paragraphs>64</Paragraphs>
  <Slides>10</Slides>
  <Notes>7</Notes>
  <HiddenSlides>0</HiddenSlides>
  <MMClips>0</MMClips>
  <ScaleCrop>false</ScaleCrop>
  <HeadingPairs>
    <vt:vector size="6" baseType="variant">
      <vt:variant>
        <vt:lpstr>Design</vt:lpstr>
      </vt:variant>
      <vt:variant>
        <vt:i4>1</vt:i4>
      </vt:variant>
      <vt:variant>
        <vt:lpstr>Eingebettete OLE-Server</vt:lpstr>
      </vt:variant>
      <vt:variant>
        <vt:i4>1</vt:i4>
      </vt:variant>
      <vt:variant>
        <vt:lpstr>Folientitel</vt:lpstr>
      </vt:variant>
      <vt:variant>
        <vt:i4>10</vt:i4>
      </vt:variant>
    </vt:vector>
  </HeadingPairs>
  <TitlesOfParts>
    <vt:vector size="12" baseType="lpstr">
      <vt:lpstr>SketchyVTI</vt:lpstr>
      <vt:lpstr>think-cell Folie</vt:lpstr>
      <vt:lpstr> </vt:lpstr>
      <vt:lpstr>PowerPoint-Präsentation</vt:lpstr>
      <vt:lpstr>PowerPoint-Präsentation</vt:lpstr>
      <vt:lpstr>PowerPoint-Präsentation</vt:lpstr>
      <vt:lpstr>Warum ist ein solcher Temperaturanstieg</vt:lpstr>
      <vt:lpstr>PowerPoint-Präsentation</vt:lpstr>
      <vt:lpstr>Intervention / Konzept für raschen Hitzeschutz: Aufbau von Hitzeschutzbündnissen auf kommunaler-, Landes- und Bundesebene</vt:lpstr>
      <vt:lpstr>5 Handlungsfelder in, zwischen und trans: Krankenhäuser, Praxen, Pflege, ÖGD, Notdienste/ Katastrophenschutz, Sozialdienste...... </vt:lpstr>
      <vt:lpstr>Pilotprojekte:</vt:lpstr>
      <vt:lpstr>Einladung zu handeln</vt:lpstr>
    </vt:vector>
  </TitlesOfParts>
  <Manager/>
  <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imate Change, Crisis and Public Health</dc:title>
  <dc:subject/>
  <dc:creator>Sabine Baunach</dc:creator>
  <cp:keywords/>
  <dc:description/>
  <cp:lastModifiedBy>Martin Herrmann</cp:lastModifiedBy>
  <cp:revision>96</cp:revision>
  <cp:lastPrinted>2022-03-22T19:15:09Z</cp:lastPrinted>
  <dcterms:created xsi:type="dcterms:W3CDTF">2022-01-06T09:58:20Z</dcterms:created>
  <dcterms:modified xsi:type="dcterms:W3CDTF">2022-05-04T14:38:25Z</dcterms:modified>
  <cp:category/>
  <dc:identifier/>
  <cp:contentStatus/>
  <dc:language/>
  <cp:version/>
</cp:coreProperties>
</file>